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2FF39D94-A8AF-4187-963B-8D111CEB1A91}">
          <p14:sldIdLst>
            <p14:sldId id="2147475173"/>
            <p14:sldId id="2147475174"/>
            <p14:sldId id="2147475175"/>
            <p14:sldId id="2147475176"/>
            <p14:sldId id="2147475177"/>
            <p14:sldId id="2147475178"/>
            <p14:sldId id="2147475179"/>
            <p14:sldId id="2147475180"/>
            <p14:sldId id="2147475181"/>
          </p14:sldIdLst>
        </p14:section>
        <p14:section name="Brackets By Sector" id="{B0CD4B5C-6EFA-4EE9-861F-D892DA9C5872}">
          <p14:sldIdLst>
            <p14:sldId id="2147475182"/>
            <p14:sldId id="2147475183"/>
            <p14:sldId id="2147475184"/>
            <p14:sldId id="2147475185"/>
            <p14:sldId id="2147475186"/>
            <p14:sldId id="2147475187"/>
            <p14:sldId id="2147475188"/>
            <p14:sldId id="2147475189"/>
            <p14:sldId id="2147475190"/>
          </p14:sldIdLst>
        </p14:section>
        <p14:section name="Brackets By Segment" id="{C7EE27C4-7F51-44A3-AC61-54879A6E6952}">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4</c:v>
                </c:pt>
                <c:pt idx="1">
                  <c:v>0.01635770415645972</c:v>
                </c:pt>
                <c:pt idx="2">
                  <c:v>0.02830249093571153</c:v>
                </c:pt>
                <c:pt idx="3">
                  <c:v>0.04230119368623569</c:v>
                </c:pt>
                <c:pt idx="4">
                  <c:v>0.08700597572922346</c:v>
                </c:pt>
                <c:pt idx="5">
                  <c:v>0.09608665800091051</c:v>
                </c:pt>
                <c:pt idx="6">
                  <c:v>0.11481564554959318</c:v>
                </c:pt>
                <c:pt idx="7">
                  <c:v>0.16444298417770556</c:v>
                </c:pt>
                <c:pt idx="8">
                  <c:v>0.2120085005494714</c:v>
                </c:pt>
                <c:pt idx="9">
                  <c:v>0.11609744764373198</c:v>
                </c:pt>
                <c:pt idx="10">
                  <c:v>0.0605034985697994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3943019083519984</c:v>
                </c:pt>
                <c:pt idx="3">
                  <c:v>0.002775978269537971</c:v>
                </c:pt>
                <c:pt idx="5">
                  <c:v>0.0019749023285045237</c:v>
                </c:pt>
                <c:pt idx="6">
                  <c:v>0.001754079444177327</c:v>
                </c:pt>
                <c:pt idx="7">
                  <c:v>0.004794791525400081</c:v>
                </c:pt>
                <c:pt idx="8">
                  <c:v>0.00444446284614731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59746573516477</c:v>
                </c:pt>
                <c:pt idx="2">
                  <c:v>0.029168365172154057</c:v>
                </c:pt>
                <c:pt idx="3">
                  <c:v>0.003145368144401667</c:v>
                </c:pt>
                <c:pt idx="4">
                  <c:v>0.015735665051344716</c:v>
                </c:pt>
                <c:pt idx="5">
                  <c:v>0.014067589267378135</c:v>
                </c:pt>
                <c:pt idx="6">
                  <c:v>0.0345148911055699</c:v>
                </c:pt>
                <c:pt idx="7">
                  <c:v>0.16517909111599685</c:v>
                </c:pt>
                <c:pt idx="8">
                  <c:v>0.2171615855822528</c:v>
                </c:pt>
                <c:pt idx="9">
                  <c:v>0.21383677043095903</c:v>
                </c:pt>
                <c:pt idx="10">
                  <c:v>0.3029403576247336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5892467263552843</c:v>
                </c:pt>
                <c:pt idx="9">
                  <c:v>0.0356147298950358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5</c:v>
                </c:pt>
                <c:pt idx="2">
                  <c:v>0.025308299426034547</c:v>
                </c:pt>
                <c:pt idx="3">
                  <c:v>0.05376235000431038</c:v>
                </c:pt>
                <c:pt idx="4">
                  <c:v>0.06047976889902426</c:v>
                </c:pt>
                <c:pt idx="5">
                  <c:v>0.11906086687087766</c:v>
                </c:pt>
                <c:pt idx="6">
                  <c:v>0.13389055283916435</c:v>
                </c:pt>
                <c:pt idx="7">
                  <c:v>0.18936383046379762</c:v>
                </c:pt>
                <c:pt idx="8">
                  <c:v>0.2079537278099954</c:v>
                </c:pt>
                <c:pt idx="9">
                  <c:v>0.1370361635363881</c:v>
                </c:pt>
                <c:pt idx="10">
                  <c:v>0.026717687349304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687721138806102</c:v>
                </c:pt>
                <c:pt idx="4">
                  <c:v>0.00413778096601834</c:v>
                </c:pt>
                <c:pt idx="5">
                  <c:v>0.005769305124771625</c:v>
                </c:pt>
                <c:pt idx="6">
                  <c:v>0.0028979991016709087</c:v>
                </c:pt>
                <c:pt idx="7">
                  <c:v>0.006704058442431768</c:v>
                </c:pt>
                <c:pt idx="8">
                  <c:v>0.0020856655822744283</c:v>
                </c:pt>
                <c:pt idx="9">
                  <c:v>0.001870774705620196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c:v>
                </c:pt>
                <c:pt idx="5">
                  <c:v>0.07999615168178827</c:v>
                </c:pt>
                <c:pt idx="6">
                  <c:v>0.09644564249232465</c:v>
                </c:pt>
                <c:pt idx="7">
                  <c:v>0.11128880451125545</c:v>
                </c:pt>
                <c:pt idx="8">
                  <c:v>0.17753774739433337</c:v>
                </c:pt>
                <c:pt idx="9">
                  <c:v>0.00929137576522382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07063617840164</c:v>
                </c:pt>
                <c:pt idx="1">
                  <c:v>0.0028111852108087237</c:v>
                </c:pt>
                <c:pt idx="2">
                  <c:v>0.011733795016715527</c:v>
                </c:pt>
                <c:pt idx="3">
                  <c:v>0.0075748521230272065</c:v>
                </c:pt>
                <c:pt idx="4">
                  <c:v>0.019009215663064603</c:v>
                </c:pt>
                <c:pt idx="5">
                  <c:v>0.011686734111054545</c:v>
                </c:pt>
                <c:pt idx="6">
                  <c:v>0.04428241600001839</c:v>
                </c:pt>
                <c:pt idx="7">
                  <c:v>0.13481352044305056</c:v>
                </c:pt>
                <c:pt idx="8">
                  <c:v>0.11237839726299749</c:v>
                </c:pt>
                <c:pt idx="9">
                  <c:v>0.48396240184152367</c:v>
                </c:pt>
                <c:pt idx="10">
                  <c:v>0.16534041870989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5311791428824259</c:v>
                </c:pt>
                <c:pt idx="9">
                  <c:v>0.0902657475903552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2188913803921</c:v>
                </c:pt>
                <c:pt idx="1">
                  <c:v>0.010611634200708155</c:v>
                </c:pt>
                <c:pt idx="2">
                  <c:v>0.017191212706328902</c:v>
                </c:pt>
                <c:pt idx="3">
                  <c:v>0.06657881274671337</c:v>
                </c:pt>
                <c:pt idx="4">
                  <c:v>0.04927328215654455</c:v>
                </c:pt>
                <c:pt idx="5">
                  <c:v>0.11854085069659605</c:v>
                </c:pt>
                <c:pt idx="6">
                  <c:v>0.13211262069559299</c:v>
                </c:pt>
                <c:pt idx="7">
                  <c:v>0.17977269388689268</c:v>
                </c:pt>
                <c:pt idx="8">
                  <c:v>0.2308780996963676</c:v>
                </c:pt>
                <c:pt idx="9">
                  <c:v>0.10988083240827315</c:v>
                </c:pt>
                <c:pt idx="10">
                  <c:v>0.068638071667943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5223406996788968</c:v>
                </c:pt>
                <c:pt idx="2">
                  <c:v>0.0020940103477810343</c:v>
                </c:pt>
                <c:pt idx="3">
                  <c:v>0.010536030244100283</c:v>
                </c:pt>
                <c:pt idx="4">
                  <c:v>0.006114333285257657</c:v>
                </c:pt>
                <c:pt idx="5">
                  <c:v>0.004637012534457217</c:v>
                </c:pt>
                <c:pt idx="6">
                  <c:v>0.0013917748991098035</c:v>
                </c:pt>
                <c:pt idx="7">
                  <c:v>0.0120573575294486</c:v>
                </c:pt>
                <c:pt idx="8">
                  <c:v>0.001866892466496313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096130298614627</c:v>
                </c:pt>
                <c:pt idx="3">
                  <c:v>0.2686462022630614</c:v>
                </c:pt>
                <c:pt idx="4">
                  <c:v>0.24445258049451576</c:v>
                </c:pt>
                <c:pt idx="5">
                  <c:v>0.09709962314476883</c:v>
                </c:pt>
                <c:pt idx="6">
                  <c:v>0.029819821017562358</c:v>
                </c:pt>
                <c:pt idx="7">
                  <c:v>0.16448722706132768</c:v>
                </c:pt>
                <c:pt idx="8">
                  <c:v>0.1922824145702286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7551825169099855</c:v>
                </c:pt>
                <c:pt idx="1">
                  <c:v>0.0011268512829684938</c:v>
                </c:pt>
                <c:pt idx="2">
                  <c:v>0.03870337107333306</c:v>
                </c:pt>
                <c:pt idx="3">
                  <c:v>0.010655250804924096</c:v>
                </c:pt>
                <c:pt idx="4">
                  <c:v>0.008443658709353704</c:v>
                </c:pt>
                <c:pt idx="5">
                  <c:v>0.010672400633581458</c:v>
                </c:pt>
                <c:pt idx="6">
                  <c:v>0.07699987236678671</c:v>
                </c:pt>
                <c:pt idx="7">
                  <c:v>0.17887076019304027</c:v>
                </c:pt>
                <c:pt idx="8">
                  <c:v>0.2209649014323503</c:v>
                </c:pt>
                <c:pt idx="9">
                  <c:v>0.24223439627367618</c:v>
                </c:pt>
                <c:pt idx="10">
                  <c:v>0.2055733547130757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88248935620394</c:v>
                </c:pt>
                <c:pt idx="1">
                  <c:v>0.01625320005116317</c:v>
                </c:pt>
                <c:pt idx="2">
                  <c:v>0.02127098588498281</c:v>
                </c:pt>
                <c:pt idx="3">
                  <c:v>0.039448936569282715</c:v>
                </c:pt>
                <c:pt idx="4">
                  <c:v>0.051569641955082006</c:v>
                </c:pt>
                <c:pt idx="5">
                  <c:v>0.10247762175383172</c:v>
                </c:pt>
                <c:pt idx="6">
                  <c:v>0.1307431312465251</c:v>
                </c:pt>
                <c:pt idx="7">
                  <c:v>0.1778504929039384</c:v>
                </c:pt>
                <c:pt idx="8">
                  <c:v>0.2563771164258904</c:v>
                </c:pt>
                <c:pt idx="9">
                  <c:v>0.10345857949612594</c:v>
                </c:pt>
                <c:pt idx="10">
                  <c:v>0.0817620447775573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12985707944666272</c:v>
                </c:pt>
                <c:pt idx="6">
                  <c:v>0.0017245101921208505</c:v>
                </c:pt>
                <c:pt idx="7">
                  <c:v>0.0035791279967986884</c:v>
                </c:pt>
                <c:pt idx="8">
                  <c:v>0.010563154350524996</c:v>
                </c:pt>
                <c:pt idx="9">
                  <c:v>0.001091774553118907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95170591014295</c:v>
                </c:pt>
                <c:pt idx="1">
                  <c:v>0.0006555930918114397</c:v>
                </c:pt>
                <c:pt idx="2">
                  <c:v>0.0018509581616242188</c:v>
                </c:pt>
                <c:pt idx="3">
                  <c:v>0.14860049297530936</c:v>
                </c:pt>
                <c:pt idx="4">
                  <c:v>0.3549097890286358</c:v>
                </c:pt>
                <c:pt idx="5">
                  <c:v>0.09234732243761361</c:v>
                </c:pt>
                <c:pt idx="6">
                  <c:v>0.024790528801785797</c:v>
                </c:pt>
                <c:pt idx="7">
                  <c:v>0.128120390097668</c:v>
                </c:pt>
                <c:pt idx="8">
                  <c:v>0.22102038676692065</c:v>
                </c:pt>
                <c:pt idx="9">
                  <c:v>0.00743876892916603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8437910048412846</c:v>
                </c:pt>
                <c:pt idx="6">
                  <c:v>0.00279180170384397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59746573516477</c:v>
                </c:pt>
                <c:pt idx="2">
                  <c:v>0.029168365172154057</c:v>
                </c:pt>
                <c:pt idx="3">
                  <c:v>0.003145368144401667</c:v>
                </c:pt>
                <c:pt idx="4">
                  <c:v>0.015735665051344716</c:v>
                </c:pt>
                <c:pt idx="5">
                  <c:v>0.014067589267378135</c:v>
                </c:pt>
                <c:pt idx="6">
                  <c:v>0.0345148911055699</c:v>
                </c:pt>
                <c:pt idx="7">
                  <c:v>0.16517909111599685</c:v>
                </c:pt>
                <c:pt idx="8">
                  <c:v>0.2171615855822528</c:v>
                </c:pt>
                <c:pt idx="9">
                  <c:v>0.21383677043095903</c:v>
                </c:pt>
                <c:pt idx="10">
                  <c:v>0.3029403576247336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18132566390944804</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5</c:v>
                </c:pt>
                <c:pt idx="2">
                  <c:v>0.025308299426034547</c:v>
                </c:pt>
                <c:pt idx="3">
                  <c:v>0.05376235000431038</c:v>
                </c:pt>
                <c:pt idx="4">
                  <c:v>0.06047976889902426</c:v>
                </c:pt>
                <c:pt idx="5">
                  <c:v>0.11906086687087766</c:v>
                </c:pt>
                <c:pt idx="6">
                  <c:v>0.13389055283916435</c:v>
                </c:pt>
                <c:pt idx="7">
                  <c:v>0.18936383046379762</c:v>
                </c:pt>
                <c:pt idx="8">
                  <c:v>0.2079537278099954</c:v>
                </c:pt>
                <c:pt idx="9">
                  <c:v>0.1370361635363881</c:v>
                </c:pt>
                <c:pt idx="10">
                  <c:v>0.026717687349304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06502139779190402</c:v>
                </c:pt>
                <c:pt idx="6">
                  <c:v>0.0024618690465788855</c:v>
                </c:pt>
                <c:pt idx="7">
                  <c:v>0.007174550950070865</c:v>
                </c:pt>
                <c:pt idx="8">
                  <c:v>0.008591496943341055</c:v>
                </c:pt>
                <c:pt idx="9">
                  <c:v>0.00133350776256455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c:v>
                </c:pt>
                <c:pt idx="5">
                  <c:v>0.07999615168178827</c:v>
                </c:pt>
                <c:pt idx="6">
                  <c:v>0.09644564249232465</c:v>
                </c:pt>
                <c:pt idx="7">
                  <c:v>0.11128880451125545</c:v>
                </c:pt>
                <c:pt idx="8">
                  <c:v>0.17753774739433337</c:v>
                </c:pt>
                <c:pt idx="9">
                  <c:v>0.00929137576522382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4">
                  <c:v>0.0026462490913729043</c:v>
                </c:pt>
                <c:pt idx="5">
                  <c:v>0.06387838300374067</c:v>
                </c:pt>
                <c:pt idx="6">
                  <c:v>0.02866358095839938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07063617840164</c:v>
                </c:pt>
                <c:pt idx="1">
                  <c:v>0.0028111852108087237</c:v>
                </c:pt>
                <c:pt idx="2">
                  <c:v>0.011733795016715527</c:v>
                </c:pt>
                <c:pt idx="3">
                  <c:v>0.0075748521230272065</c:v>
                </c:pt>
                <c:pt idx="4">
                  <c:v>0.019009215663064603</c:v>
                </c:pt>
                <c:pt idx="5">
                  <c:v>0.011686734111054545</c:v>
                </c:pt>
                <c:pt idx="6">
                  <c:v>0.04428241600001839</c:v>
                </c:pt>
                <c:pt idx="7">
                  <c:v>0.13481352044305056</c:v>
                </c:pt>
                <c:pt idx="8">
                  <c:v>0.11237839726299749</c:v>
                </c:pt>
                <c:pt idx="9">
                  <c:v>0.48396240184152367</c:v>
                </c:pt>
                <c:pt idx="10">
                  <c:v>0.16534041870989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4580364971976064</c:v>
                </c:pt>
                <c:pt idx="7">
                  <c:v>0.01731393129222696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2188913803921</c:v>
                </c:pt>
                <c:pt idx="1">
                  <c:v>0.010611634200708155</c:v>
                </c:pt>
                <c:pt idx="2">
                  <c:v>0.017191212706328902</c:v>
                </c:pt>
                <c:pt idx="3">
                  <c:v>0.06657881274671337</c:v>
                </c:pt>
                <c:pt idx="4">
                  <c:v>0.04927328215654455</c:v>
                </c:pt>
                <c:pt idx="5">
                  <c:v>0.11854085069659605</c:v>
                </c:pt>
                <c:pt idx="6">
                  <c:v>0.13211262069559299</c:v>
                </c:pt>
                <c:pt idx="7">
                  <c:v>0.17977269388689268</c:v>
                </c:pt>
                <c:pt idx="8">
                  <c:v>0.2308780996963676</c:v>
                </c:pt>
                <c:pt idx="9">
                  <c:v>0.10988083240827315</c:v>
                </c:pt>
                <c:pt idx="10">
                  <c:v>0.068638071667943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1330253190040382</c:v>
                </c:pt>
                <c:pt idx="6">
                  <c:v>0.0029960886675650176</c:v>
                </c:pt>
                <c:pt idx="7">
                  <c:v>0.002930866497515238</c:v>
                </c:pt>
                <c:pt idx="8">
                  <c:v>0.01636220679379279</c:v>
                </c:pt>
                <c:pt idx="9">
                  <c:v>0.001883302331097769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096130298614627</c:v>
                </c:pt>
                <c:pt idx="3">
                  <c:v>0.2686462022630614</c:v>
                </c:pt>
                <c:pt idx="4">
                  <c:v>0.24445258049451576</c:v>
                </c:pt>
                <c:pt idx="5">
                  <c:v>0.09709962314476883</c:v>
                </c:pt>
                <c:pt idx="6">
                  <c:v>0.029819821017562358</c:v>
                </c:pt>
                <c:pt idx="7">
                  <c:v>0.16448722706132768</c:v>
                </c:pt>
                <c:pt idx="8">
                  <c:v>0.1922824145702286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9709188742891893</c:v>
                </c:pt>
                <c:pt idx="6">
                  <c:v>0.01503311817291936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7551825169099855</c:v>
                </c:pt>
                <c:pt idx="1">
                  <c:v>0.0011268512829684938</c:v>
                </c:pt>
                <c:pt idx="2">
                  <c:v>0.03870337107333306</c:v>
                </c:pt>
                <c:pt idx="3">
                  <c:v>0.010655250804924096</c:v>
                </c:pt>
                <c:pt idx="4">
                  <c:v>0.008443658709353704</c:v>
                </c:pt>
                <c:pt idx="5">
                  <c:v>0.010672400633581458</c:v>
                </c:pt>
                <c:pt idx="6">
                  <c:v>0.07699987236678671</c:v>
                </c:pt>
                <c:pt idx="7">
                  <c:v>0.17887076019304027</c:v>
                </c:pt>
                <c:pt idx="8">
                  <c:v>0.2209649014323503</c:v>
                </c:pt>
                <c:pt idx="9">
                  <c:v>0.24223439627367618</c:v>
                </c:pt>
                <c:pt idx="10">
                  <c:v>0.2055733547130757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2006187522339349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8452095700271858</c:v>
                </c:pt>
                <c:pt idx="1">
                  <c:v>0.006903841536690244</c:v>
                </c:pt>
                <c:pt idx="2">
                  <c:v>0.0389931381088845</c:v>
                </c:pt>
                <c:pt idx="3">
                  <c:v>0.09288575427537832</c:v>
                </c:pt>
                <c:pt idx="4">
                  <c:v>0.12661389106941554</c:v>
                </c:pt>
                <c:pt idx="5">
                  <c:v>0.1413982861723846</c:v>
                </c:pt>
                <c:pt idx="6">
                  <c:v>0.08327672553420401</c:v>
                </c:pt>
                <c:pt idx="7">
                  <c:v>0.25943750265456544</c:v>
                </c:pt>
                <c:pt idx="8">
                  <c:v>0.16769832304927204</c:v>
                </c:pt>
                <c:pt idx="9">
                  <c:v>0.050813195599909045</c:v>
                </c:pt>
                <c:pt idx="10">
                  <c:v>0.00352724629902446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3725619934971639</c:v>
                </c:pt>
                <c:pt idx="3">
                  <c:v>0.008949046454423844</c:v>
                </c:pt>
                <c:pt idx="4">
                  <c:v>0.006129297074432178</c:v>
                </c:pt>
                <c:pt idx="5">
                  <c:v>0.024515893736835173</c:v>
                </c:pt>
                <c:pt idx="6">
                  <c:v>0.015661540441294683</c:v>
                </c:pt>
                <c:pt idx="7">
                  <c:v>0.05133844013659845</c:v>
                </c:pt>
                <c:pt idx="8">
                  <c:v>0.0577886738150891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14769469987927959</c:v>
                </c:pt>
                <c:pt idx="2">
                  <c:v>0.0023174585769354574</c:v>
                </c:pt>
                <c:pt idx="3">
                  <c:v>0.05488916484049448</c:v>
                </c:pt>
                <c:pt idx="4">
                  <c:v>0.021417116059667604</c:v>
                </c:pt>
                <c:pt idx="5">
                  <c:v>0.05495478582417153</c:v>
                </c:pt>
                <c:pt idx="6">
                  <c:v>0.14927955263464024</c:v>
                </c:pt>
                <c:pt idx="7">
                  <c:v>0.13229106377391028</c:v>
                </c:pt>
                <c:pt idx="8">
                  <c:v>0.3129947207790715</c:v>
                </c:pt>
                <c:pt idx="9">
                  <c:v>0.14351243301228028</c:v>
                </c:pt>
                <c:pt idx="10">
                  <c:v>0.1132490185854586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24908400446714014</c:v>
                </c:pt>
                <c:pt idx="7">
                  <c:v>0.0018803708507033347</c:v>
                </c:pt>
                <c:pt idx="8">
                  <c:v>0.00436927492599697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18415107764803</c:v>
                </c:pt>
                <c:pt idx="1">
                  <c:v>0.012433173216472356</c:v>
                </c:pt>
                <c:pt idx="2">
                  <c:v>0.016653419563341498</c:v>
                </c:pt>
                <c:pt idx="3">
                  <c:v>0.04528856379315839</c:v>
                </c:pt>
                <c:pt idx="4">
                  <c:v>0.06046988050298088</c:v>
                </c:pt>
                <c:pt idx="5">
                  <c:v>0.0680466923150633</c:v>
                </c:pt>
                <c:pt idx="6">
                  <c:v>0.10564996279910281</c:v>
                </c:pt>
                <c:pt idx="7">
                  <c:v>0.20914003576282764</c:v>
                </c:pt>
                <c:pt idx="8">
                  <c:v>0.18189208301942125</c:v>
                </c:pt>
                <c:pt idx="9">
                  <c:v>0.05089155113736633</c:v>
                </c:pt>
                <c:pt idx="10">
                  <c:v>0.2431162227825007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33413980241707</c:v>
                </c:pt>
                <c:pt idx="1">
                  <c:v>0.01851603825304579</c:v>
                </c:pt>
                <c:pt idx="2">
                  <c:v>0.010825272627964894</c:v>
                </c:pt>
                <c:pt idx="3">
                  <c:v>0.013085022230190355</c:v>
                </c:pt>
                <c:pt idx="4">
                  <c:v>0.0227156576849857</c:v>
                </c:pt>
                <c:pt idx="5">
                  <c:v>0.1524147583644131</c:v>
                </c:pt>
                <c:pt idx="6">
                  <c:v>0.13260461332691367</c:v>
                </c:pt>
                <c:pt idx="7">
                  <c:v>0.1470694906223056</c:v>
                </c:pt>
                <c:pt idx="8">
                  <c:v>0.27489550926232</c:v>
                </c:pt>
                <c:pt idx="9">
                  <c:v>0.18418147748810215</c:v>
                </c:pt>
                <c:pt idx="10">
                  <c:v>0.0213580203373416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3951101757598065</c:v>
                </c:pt>
                <c:pt idx="1">
                  <c:v>0.02171650644987758</c:v>
                </c:pt>
                <c:pt idx="2">
                  <c:v>0.04139958778297513</c:v>
                </c:pt>
                <c:pt idx="3">
                  <c:v>0.021668009689674438</c:v>
                </c:pt>
                <c:pt idx="4">
                  <c:v>0.05255720112425198</c:v>
                </c:pt>
                <c:pt idx="5">
                  <c:v>0.06370169681351301</c:v>
                </c:pt>
                <c:pt idx="6">
                  <c:v>0.13085829476746524</c:v>
                </c:pt>
                <c:pt idx="7">
                  <c:v>0.1779074165462232</c:v>
                </c:pt>
                <c:pt idx="8">
                  <c:v>0.3818249301703122</c:v>
                </c:pt>
                <c:pt idx="9">
                  <c:v>0.07158504610109587</c:v>
                </c:pt>
                <c:pt idx="10">
                  <c:v>0.002830208797013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122923696978768</c:v>
                </c:pt>
                <c:pt idx="1">
                  <c:v>0.03420814609101958</c:v>
                </c:pt>
                <c:pt idx="2">
                  <c:v>0.04638899137720838</c:v>
                </c:pt>
                <c:pt idx="3">
                  <c:v>0.042363038609228514</c:v>
                </c:pt>
                <c:pt idx="4">
                  <c:v>0.07359900122735238</c:v>
                </c:pt>
                <c:pt idx="5">
                  <c:v>0.21666215265832334</c:v>
                </c:pt>
                <c:pt idx="6">
                  <c:v>0.35850197330543987</c:v>
                </c:pt>
                <c:pt idx="7">
                  <c:v>0.11680761238296966</c:v>
                </c:pt>
                <c:pt idx="8">
                  <c:v>0.04725081386910258</c:v>
                </c:pt>
                <c:pt idx="9">
                  <c:v>0.022988851810587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19498331266352525</c:v>
                </c:pt>
                <c:pt idx="1">
                  <c:v>0.012898740235923686</c:v>
                </c:pt>
                <c:pt idx="2">
                  <c:v>0.017945797245864717</c:v>
                </c:pt>
                <c:pt idx="3">
                  <c:v>0.029439778517212502</c:v>
                </c:pt>
                <c:pt idx="4">
                  <c:v>0.09651530230186481</c:v>
                </c:pt>
                <c:pt idx="5">
                  <c:v>0.0844069283671941</c:v>
                </c:pt>
                <c:pt idx="6">
                  <c:v>0.18499548315225822</c:v>
                </c:pt>
                <c:pt idx="7">
                  <c:v>0.2542396250926039</c:v>
                </c:pt>
                <c:pt idx="8">
                  <c:v>0.10017514101023534</c:v>
                </c:pt>
                <c:pt idx="9">
                  <c:v>0.020524173093343596</c:v>
                </c:pt>
                <c:pt idx="10">
                  <c:v>0.003875718319973872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8613377585847987</c:v>
                </c:pt>
                <c:pt idx="1">
                  <c:v>0.0156302030123537</c:v>
                </c:pt>
                <c:pt idx="2">
                  <c:v>0.03529498132174272</c:v>
                </c:pt>
                <c:pt idx="3">
                  <c:v>0.17153808610810198</c:v>
                </c:pt>
                <c:pt idx="4">
                  <c:v>0.13353047605469773</c:v>
                </c:pt>
                <c:pt idx="5">
                  <c:v>0.1291715379288184</c:v>
                </c:pt>
                <c:pt idx="6">
                  <c:v>0.07250731365668489</c:v>
                </c:pt>
                <c:pt idx="7">
                  <c:v>0.21110141717184974</c:v>
                </c:pt>
                <c:pt idx="8">
                  <c:v>0.1733531988133058</c:v>
                </c:pt>
                <c:pt idx="9">
                  <c:v>0.01994053861950895</c:v>
                </c:pt>
                <c:pt idx="10">
                  <c:v>0.00931886972708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30743646429186058</c:v>
                </c:pt>
                <c:pt idx="3">
                  <c:v>0.03564450001734381</c:v>
                </c:pt>
                <c:pt idx="4">
                  <c:v>0.006332703713131765</c:v>
                </c:pt>
                <c:pt idx="5">
                  <c:v>0.02535841395269573</c:v>
                </c:pt>
                <c:pt idx="6">
                  <c:v>0.01714739853104838</c:v>
                </c:pt>
                <c:pt idx="7">
                  <c:v>0.054161420006419936</c:v>
                </c:pt>
                <c:pt idx="8">
                  <c:v>0.0532488880561622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0921024996954196</c:v>
                </c:pt>
                <c:pt idx="1">
                  <c:v>0.022013794513369753</c:v>
                </c:pt>
                <c:pt idx="2">
                  <c:v>0.00601647294514509</c:v>
                </c:pt>
                <c:pt idx="3">
                  <c:v>0.05994837120816296</c:v>
                </c:pt>
                <c:pt idx="4">
                  <c:v>0.023502461461467138</c:v>
                </c:pt>
                <c:pt idx="5">
                  <c:v>0.07925451566522052</c:v>
                </c:pt>
                <c:pt idx="6">
                  <c:v>0.10057809753875296</c:v>
                </c:pt>
                <c:pt idx="7">
                  <c:v>0.2526766112173091</c:v>
                </c:pt>
                <c:pt idx="8">
                  <c:v>0.2504997063205352</c:v>
                </c:pt>
                <c:pt idx="9">
                  <c:v>0.1571946822549919</c:v>
                </c:pt>
                <c:pt idx="10">
                  <c:v>0.0472231843753500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4580604413649191</c:v>
                </c:pt>
                <c:pt idx="7">
                  <c:v>0.006310183683359255</c:v>
                </c:pt>
                <c:pt idx="8">
                  <c:v>0.00325466631360499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2664777716174217</c:v>
                </c:pt>
                <c:pt idx="1">
                  <c:v>0.01455215005945285</c:v>
                </c:pt>
                <c:pt idx="2">
                  <c:v>0.03179315798758306</c:v>
                </c:pt>
                <c:pt idx="3">
                  <c:v>0.04819725041892283</c:v>
                </c:pt>
                <c:pt idx="4">
                  <c:v>0.03617240173912875</c:v>
                </c:pt>
                <c:pt idx="5">
                  <c:v>0.10756737889583758</c:v>
                </c:pt>
                <c:pt idx="6">
                  <c:v>0.1437797360274827</c:v>
                </c:pt>
                <c:pt idx="7">
                  <c:v>0.16541094068946494</c:v>
                </c:pt>
                <c:pt idx="8">
                  <c:v>0.17248314445239338</c:v>
                </c:pt>
                <c:pt idx="9">
                  <c:v>0.20438488641867086</c:v>
                </c:pt>
                <c:pt idx="10">
                  <c:v>0.0629941755948888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9772656352017654</c:v>
                </c:pt>
                <c:pt idx="1">
                  <c:v>0.023212152827471175</c:v>
                </c:pt>
                <c:pt idx="2">
                  <c:v>0.009527632047204786</c:v>
                </c:pt>
                <c:pt idx="3">
                  <c:v>0.020834565919059692</c:v>
                </c:pt>
                <c:pt idx="4">
                  <c:v>0.05628095249632727</c:v>
                </c:pt>
                <c:pt idx="5">
                  <c:v>0.148585540071408</c:v>
                </c:pt>
                <c:pt idx="6">
                  <c:v>0.13431405689832426</c:v>
                </c:pt>
                <c:pt idx="7">
                  <c:v>0.17459164325638374</c:v>
                </c:pt>
                <c:pt idx="8">
                  <c:v>0.24859878263049723</c:v>
                </c:pt>
                <c:pt idx="9">
                  <c:v>0.15784269013818414</c:v>
                </c:pt>
                <c:pt idx="10">
                  <c:v>0.00643932736312209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6578369953938744</c:v>
                </c:pt>
                <c:pt idx="1">
                  <c:v>0.039748049335277494</c:v>
                </c:pt>
                <c:pt idx="2">
                  <c:v>0.036152583544337216</c:v>
                </c:pt>
                <c:pt idx="3">
                  <c:v>0.02546984975086074</c:v>
                </c:pt>
                <c:pt idx="4">
                  <c:v>0.06481388038274538</c:v>
                </c:pt>
                <c:pt idx="5">
                  <c:v>0.0851977002451823</c:v>
                </c:pt>
                <c:pt idx="6">
                  <c:v>0.17447621527054125</c:v>
                </c:pt>
                <c:pt idx="7">
                  <c:v>0.20259246306990597</c:v>
                </c:pt>
                <c:pt idx="8">
                  <c:v>0.20923515941614845</c:v>
                </c:pt>
                <c:pt idx="9">
                  <c:v>0.10072276476360653</c:v>
                </c:pt>
                <c:pt idx="10">
                  <c:v>0.0050129642674558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5</c:v>
                </c:pt>
                <c:pt idx="1">
                  <c:v>0.015471007476381237</c:v>
                </c:pt>
                <c:pt idx="2">
                  <c:v>0.028116529382288598</c:v>
                </c:pt>
                <c:pt idx="3">
                  <c:v>0.060924029525371806</c:v>
                </c:pt>
                <c:pt idx="4">
                  <c:v>0.09318742552859235</c:v>
                </c:pt>
                <c:pt idx="5">
                  <c:v>0.09328965350171722</c:v>
                </c:pt>
                <c:pt idx="6">
                  <c:v>0.10624332582688127</c:v>
                </c:pt>
                <c:pt idx="7">
                  <c:v>0.17288833054716357</c:v>
                </c:pt>
                <c:pt idx="8">
                  <c:v>0.17090235363397566</c:v>
                </c:pt>
                <c:pt idx="9">
                  <c:v>0.13659252312310796</c:v>
                </c:pt>
                <c:pt idx="10">
                  <c:v>0.05821507314392683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3220514636903894</c:v>
                </c:pt>
                <c:pt idx="1">
                  <c:v>0.012441037528871992</c:v>
                </c:pt>
                <c:pt idx="2">
                  <c:v>0.0876245748015091</c:v>
                </c:pt>
                <c:pt idx="3">
                  <c:v>0.030282854374379737</c:v>
                </c:pt>
                <c:pt idx="4">
                  <c:v>0.14027776593737548</c:v>
                </c:pt>
                <c:pt idx="5">
                  <c:v>0.28950622024873895</c:v>
                </c:pt>
                <c:pt idx="6">
                  <c:v>0.21798642705429877</c:v>
                </c:pt>
                <c:pt idx="7">
                  <c:v>0.05658159874439702</c:v>
                </c:pt>
                <c:pt idx="8">
                  <c:v>0.09882715982471645</c:v>
                </c:pt>
                <c:pt idx="9">
                  <c:v>0.0132518468488086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2513173424829716</c:v>
                </c:pt>
                <c:pt idx="1">
                  <c:v>0.02399531318055816</c:v>
                </c:pt>
                <c:pt idx="2">
                  <c:v>0.017913651730790934</c:v>
                </c:pt>
                <c:pt idx="3">
                  <c:v>0.04759709771413086</c:v>
                </c:pt>
                <c:pt idx="4">
                  <c:v>0.09651889967226963</c:v>
                </c:pt>
                <c:pt idx="5">
                  <c:v>0.11494751174683011</c:v>
                </c:pt>
                <c:pt idx="6">
                  <c:v>0.1736599363969465</c:v>
                </c:pt>
                <c:pt idx="7">
                  <c:v>0.17952376942204418</c:v>
                </c:pt>
                <c:pt idx="8">
                  <c:v>0.0828936000585582</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943762752384092</c:v>
                </c:pt>
                <c:pt idx="1">
                  <c:v>0.01733909455451033</c:v>
                </c:pt>
                <c:pt idx="2">
                  <c:v>0.04808871651965523</c:v>
                </c:pt>
                <c:pt idx="3">
                  <c:v>0.20562364600569663</c:v>
                </c:pt>
                <c:pt idx="4">
                  <c:v>0.06674854741972457</c:v>
                </c:pt>
                <c:pt idx="5">
                  <c:v>0.12200576981432011</c:v>
                </c:pt>
                <c:pt idx="6">
                  <c:v>0.04618493716342849</c:v>
                </c:pt>
                <c:pt idx="7">
                  <c:v>0.2232454479683828</c:v>
                </c:pt>
                <c:pt idx="8">
                  <c:v>0.15135974545254935</c:v>
                </c:pt>
                <c:pt idx="9">
                  <c:v>0.08959978013454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471834201411426</c:v>
                </c:pt>
                <c:pt idx="1">
                  <c:v>0.01733909455451033</c:v>
                </c:pt>
                <c:pt idx="2">
                  <c:v>0.030917818303169083</c:v>
                </c:pt>
                <c:pt idx="5">
                  <c:v>0.03726530710716553</c:v>
                </c:pt>
                <c:pt idx="6">
                  <c:v>0.028448033461384293</c:v>
                </c:pt>
                <c:pt idx="7">
                  <c:v>0.04432812257210345</c:v>
                </c:pt>
                <c:pt idx="8">
                  <c:v>0.05598903528938735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4185496993801796</c:v>
                </c:pt>
                <c:pt idx="2">
                  <c:v>0.005886751138356307</c:v>
                </c:pt>
                <c:pt idx="3">
                  <c:v>0.07568168528926024</c:v>
                </c:pt>
                <c:pt idx="4">
                  <c:v>0.0254269368312801</c:v>
                </c:pt>
                <c:pt idx="5">
                  <c:v>0.09477184033444332</c:v>
                </c:pt>
                <c:pt idx="6">
                  <c:v>0.12889598069765412</c:v>
                </c:pt>
                <c:pt idx="7">
                  <c:v>0.1342547122947091</c:v>
                </c:pt>
                <c:pt idx="8">
                  <c:v>0.32909591222530005</c:v>
                </c:pt>
                <c:pt idx="9">
                  <c:v>0.10836522028352404</c:v>
                </c:pt>
                <c:pt idx="10">
                  <c:v>0.09281769757231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9385705822158571</c:v>
                </c:pt>
                <c:pt idx="2">
                  <c:v>0.00167359112290561</c:v>
                </c:pt>
                <c:pt idx="5">
                  <c:v>0.002027699687448518</c:v>
                </c:pt>
                <c:pt idx="6">
                  <c:v>0.0015574917945494827</c:v>
                </c:pt>
                <c:pt idx="7">
                  <c:v>0.0026119712875011234</c:v>
                </c:pt>
                <c:pt idx="8">
                  <c:v>0.00336048305869494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31474044080606668</c:v>
                </c:pt>
                <c:pt idx="8">
                  <c:v>0.00488500958637164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123378839714148</c:v>
                </c:pt>
                <c:pt idx="1">
                  <c:v>0.003917522258253052</c:v>
                </c:pt>
                <c:pt idx="2">
                  <c:v>0.02057397007954328</c:v>
                </c:pt>
                <c:pt idx="3">
                  <c:v>0.09217434910521578</c:v>
                </c:pt>
                <c:pt idx="4">
                  <c:v>0.02406388014634632</c:v>
                </c:pt>
                <c:pt idx="5">
                  <c:v>0.0816034254978243</c:v>
                </c:pt>
                <c:pt idx="6">
                  <c:v>0.1229698551242565</c:v>
                </c:pt>
                <c:pt idx="7">
                  <c:v>0.20932020763186437</c:v>
                </c:pt>
                <c:pt idx="8">
                  <c:v>0.14848773889644468</c:v>
                </c:pt>
                <c:pt idx="9">
                  <c:v>0.13344545786542822</c:v>
                </c:pt>
                <c:pt idx="10">
                  <c:v>0.159320214555109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80570518301911</c:v>
                </c:pt>
                <c:pt idx="1">
                  <c:v>0.007178750156815216</c:v>
                </c:pt>
                <c:pt idx="2">
                  <c:v>0.0074170086151862345</c:v>
                </c:pt>
                <c:pt idx="3">
                  <c:v>0.012870735468148011</c:v>
                </c:pt>
                <c:pt idx="4">
                  <c:v>0.06630866936656049</c:v>
                </c:pt>
                <c:pt idx="5">
                  <c:v>0.16040717619239409</c:v>
                </c:pt>
                <c:pt idx="6">
                  <c:v>0.13239687151562307</c:v>
                </c:pt>
                <c:pt idx="7">
                  <c:v>0.173339954185473</c:v>
                </c:pt>
                <c:pt idx="8">
                  <c:v>0.20746469137783644</c:v>
                </c:pt>
                <c:pt idx="9">
                  <c:v>0.13202397008973618</c:v>
                </c:pt>
                <c:pt idx="10">
                  <c:v>0.06878646784920812</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150705379299439</c:v>
                </c:pt>
                <c:pt idx="1">
                  <c:v>0.00909028530886476</c:v>
                </c:pt>
                <c:pt idx="2">
                  <c:v>0.016253323699152004</c:v>
                </c:pt>
                <c:pt idx="3">
                  <c:v>0.012374473445219698</c:v>
                </c:pt>
                <c:pt idx="4">
                  <c:v>0.05204405825364189</c:v>
                </c:pt>
                <c:pt idx="5">
                  <c:v>0.09152604210398443</c:v>
                </c:pt>
                <c:pt idx="6">
                  <c:v>0.2020329428615326</c:v>
                </c:pt>
                <c:pt idx="7">
                  <c:v>0.15911147347283777</c:v>
                </c:pt>
                <c:pt idx="8">
                  <c:v>0.3668452921707197</c:v>
                </c:pt>
                <c:pt idx="9">
                  <c:v>0.079215054891052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1847693416567174</c:v>
                </c:pt>
                <c:pt idx="1">
                  <c:v>0.0864207716887703</c:v>
                </c:pt>
                <c:pt idx="2">
                  <c:v>0.014979502724817682</c:v>
                </c:pt>
                <c:pt idx="3">
                  <c:v>0.03843574548168264</c:v>
                </c:pt>
                <c:pt idx="4">
                  <c:v>0.09221361436269071</c:v>
                </c:pt>
                <c:pt idx="5">
                  <c:v>0.23543198442819938</c:v>
                </c:pt>
                <c:pt idx="6">
                  <c:v>0.18117729862300258</c:v>
                </c:pt>
                <c:pt idx="7">
                  <c:v>0.20368518910803782</c:v>
                </c:pt>
                <c:pt idx="8">
                  <c:v>0.09721797951433478</c:v>
                </c:pt>
                <c:pt idx="9">
                  <c:v>0.0285902206518969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11144784079699287</c:v>
                </c:pt>
                <c:pt idx="1">
                  <c:v>0.008639228791782883</c:v>
                </c:pt>
                <c:pt idx="2">
                  <c:v>0.007022737973033661</c:v>
                </c:pt>
                <c:pt idx="3">
                  <c:v>0.027032315135339206</c:v>
                </c:pt>
                <c:pt idx="4">
                  <c:v>0.0996247835885887</c:v>
                </c:pt>
                <c:pt idx="5">
                  <c:v>0.080920570595953</c:v>
                </c:pt>
                <c:pt idx="6">
                  <c:v>0.20955945736429468</c:v>
                </c:pt>
                <c:pt idx="7">
                  <c:v>0.2381784205925838</c:v>
                </c:pt>
                <c:pt idx="8">
                  <c:v>0.13772118601552835</c:v>
                </c:pt>
                <c:pt idx="9">
                  <c:v>0.06568136875285141</c:v>
                </c:pt>
                <c:pt idx="10">
                  <c:v>0.01417209039305146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8452095700271858</c:v>
                </c:pt>
                <c:pt idx="1">
                  <c:v>0.006903841536690244</c:v>
                </c:pt>
                <c:pt idx="2">
                  <c:v>0.0389931381088845</c:v>
                </c:pt>
                <c:pt idx="3">
                  <c:v>0.09288575427537832</c:v>
                </c:pt>
                <c:pt idx="4">
                  <c:v>0.12661389106941554</c:v>
                </c:pt>
                <c:pt idx="5">
                  <c:v>0.1413982861723846</c:v>
                </c:pt>
                <c:pt idx="6">
                  <c:v>0.08327672553420401</c:v>
                </c:pt>
                <c:pt idx="7">
                  <c:v>0.25943750265456544</c:v>
                </c:pt>
                <c:pt idx="8">
                  <c:v>0.16769832304927204</c:v>
                </c:pt>
                <c:pt idx="9">
                  <c:v>0.050813195599909045</c:v>
                </c:pt>
                <c:pt idx="10">
                  <c:v>0.00352724629902446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8206079859622176</c:v>
                </c:pt>
                <c:pt idx="4">
                  <c:v>0.013735802625934962</c:v>
                </c:pt>
                <c:pt idx="5">
                  <c:v>0.06158870680921726</c:v>
                </c:pt>
                <c:pt idx="6">
                  <c:v>0.02319507043178579</c:v>
                </c:pt>
                <c:pt idx="7">
                  <c:v>0.05900056563816069</c:v>
                </c:pt>
                <c:pt idx="8">
                  <c:v>0.02463078463108609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14769469987927959</c:v>
                </c:pt>
                <c:pt idx="2">
                  <c:v>0.0023174585769354574</c:v>
                </c:pt>
                <c:pt idx="3">
                  <c:v>0.05488916484049448</c:v>
                </c:pt>
                <c:pt idx="4">
                  <c:v>0.021417116059667604</c:v>
                </c:pt>
                <c:pt idx="5">
                  <c:v>0.05495478582417153</c:v>
                </c:pt>
                <c:pt idx="6">
                  <c:v>0.14927955263464024</c:v>
                </c:pt>
                <c:pt idx="7">
                  <c:v>0.13229106377391028</c:v>
                </c:pt>
                <c:pt idx="8">
                  <c:v>0.3129947207790715</c:v>
                </c:pt>
                <c:pt idx="9">
                  <c:v>0.14351243301228028</c:v>
                </c:pt>
                <c:pt idx="10">
                  <c:v>0.1132490185854586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18415107764803</c:v>
                </c:pt>
                <c:pt idx="1">
                  <c:v>0.012433173216472356</c:v>
                </c:pt>
                <c:pt idx="2">
                  <c:v>0.016653419563341498</c:v>
                </c:pt>
                <c:pt idx="3">
                  <c:v>0.04528856379315839</c:v>
                </c:pt>
                <c:pt idx="4">
                  <c:v>0.06046988050298088</c:v>
                </c:pt>
                <c:pt idx="5">
                  <c:v>0.0680466923150633</c:v>
                </c:pt>
                <c:pt idx="6">
                  <c:v>0.10564996279910281</c:v>
                </c:pt>
                <c:pt idx="7">
                  <c:v>0.20914003576282764</c:v>
                </c:pt>
                <c:pt idx="8">
                  <c:v>0.18189208301942125</c:v>
                </c:pt>
                <c:pt idx="9">
                  <c:v>0.05089155113736633</c:v>
                </c:pt>
                <c:pt idx="10">
                  <c:v>0.2431162227825007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33413980241707</c:v>
                </c:pt>
                <c:pt idx="1">
                  <c:v>0.01851603825304579</c:v>
                </c:pt>
                <c:pt idx="2">
                  <c:v>0.010825272627964894</c:v>
                </c:pt>
                <c:pt idx="3">
                  <c:v>0.013085022230190355</c:v>
                </c:pt>
                <c:pt idx="4">
                  <c:v>0.0227156576849857</c:v>
                </c:pt>
                <c:pt idx="5">
                  <c:v>0.1524147583644131</c:v>
                </c:pt>
                <c:pt idx="6">
                  <c:v>0.13260461332691367</c:v>
                </c:pt>
                <c:pt idx="7">
                  <c:v>0.1470694906223056</c:v>
                </c:pt>
                <c:pt idx="8">
                  <c:v>0.27489550926232</c:v>
                </c:pt>
                <c:pt idx="9">
                  <c:v>0.18418147748810215</c:v>
                </c:pt>
                <c:pt idx="10">
                  <c:v>0.0213580203373416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595050014481613</c:v>
                </c:pt>
                <c:pt idx="3">
                  <c:v>0.0006233384922911094</c:v>
                </c:pt>
                <c:pt idx="5">
                  <c:v>0.0017076344744566142</c:v>
                </c:pt>
                <c:pt idx="6">
                  <c:v>0.0013050492529639898</c:v>
                </c:pt>
                <c:pt idx="7">
                  <c:v>0.00373760751220693</c:v>
                </c:pt>
                <c:pt idx="8">
                  <c:v>0.0044008842953461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3951101757598065</c:v>
                </c:pt>
                <c:pt idx="1">
                  <c:v>0.02171650644987758</c:v>
                </c:pt>
                <c:pt idx="2">
                  <c:v>0.04139958778297513</c:v>
                </c:pt>
                <c:pt idx="3">
                  <c:v>0.021668009689674438</c:v>
                </c:pt>
                <c:pt idx="4">
                  <c:v>0.05255720112425198</c:v>
                </c:pt>
                <c:pt idx="5">
                  <c:v>0.06370169681351301</c:v>
                </c:pt>
                <c:pt idx="6">
                  <c:v>0.13085829476746524</c:v>
                </c:pt>
                <c:pt idx="7">
                  <c:v>0.1779074165462232</c:v>
                </c:pt>
                <c:pt idx="8">
                  <c:v>0.3818249301703122</c:v>
                </c:pt>
                <c:pt idx="9">
                  <c:v>0.07158504610109587</c:v>
                </c:pt>
                <c:pt idx="10">
                  <c:v>0.002830208797013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122923696978768</c:v>
                </c:pt>
                <c:pt idx="1">
                  <c:v>0.03420814609101958</c:v>
                </c:pt>
                <c:pt idx="2">
                  <c:v>0.04638899137720838</c:v>
                </c:pt>
                <c:pt idx="3">
                  <c:v>0.042363038609228514</c:v>
                </c:pt>
                <c:pt idx="4">
                  <c:v>0.07359900122735238</c:v>
                </c:pt>
                <c:pt idx="5">
                  <c:v>0.21666215265832334</c:v>
                </c:pt>
                <c:pt idx="6">
                  <c:v>0.35850197330543987</c:v>
                </c:pt>
                <c:pt idx="7">
                  <c:v>0.11680761238296966</c:v>
                </c:pt>
                <c:pt idx="8">
                  <c:v>0.04725081386910258</c:v>
                </c:pt>
                <c:pt idx="9">
                  <c:v>0.022988851810587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19498331266352525</c:v>
                </c:pt>
                <c:pt idx="1">
                  <c:v>0.012898740235923686</c:v>
                </c:pt>
                <c:pt idx="2">
                  <c:v>0.017945797245864717</c:v>
                </c:pt>
                <c:pt idx="3">
                  <c:v>0.029439778517212502</c:v>
                </c:pt>
                <c:pt idx="4">
                  <c:v>0.09651530230186481</c:v>
                </c:pt>
                <c:pt idx="5">
                  <c:v>0.0844069283671941</c:v>
                </c:pt>
                <c:pt idx="6">
                  <c:v>0.18499548315225822</c:v>
                </c:pt>
                <c:pt idx="7">
                  <c:v>0.2542396250926039</c:v>
                </c:pt>
                <c:pt idx="8">
                  <c:v>0.10017514101023534</c:v>
                </c:pt>
                <c:pt idx="9">
                  <c:v>0.020524173093343596</c:v>
                </c:pt>
                <c:pt idx="10">
                  <c:v>0.003875718319973872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8613377585847987</c:v>
                </c:pt>
                <c:pt idx="1">
                  <c:v>0.0156302030123537</c:v>
                </c:pt>
                <c:pt idx="2">
                  <c:v>0.03529498132174272</c:v>
                </c:pt>
                <c:pt idx="3">
                  <c:v>0.17153808610810198</c:v>
                </c:pt>
                <c:pt idx="4">
                  <c:v>0.13353047605469773</c:v>
                </c:pt>
                <c:pt idx="5">
                  <c:v>0.1291715379288184</c:v>
                </c:pt>
                <c:pt idx="6">
                  <c:v>0.07250731365668489</c:v>
                </c:pt>
                <c:pt idx="7">
                  <c:v>0.21110141717184974</c:v>
                </c:pt>
                <c:pt idx="8">
                  <c:v>0.1733531988133058</c:v>
                </c:pt>
                <c:pt idx="9">
                  <c:v>0.01994053861950895</c:v>
                </c:pt>
                <c:pt idx="10">
                  <c:v>0.00931886972708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13356059179014013</c:v>
                </c:pt>
                <c:pt idx="4">
                  <c:v>0.032745011116607166</c:v>
                </c:pt>
                <c:pt idx="5">
                  <c:v>0.045656346239016515</c:v>
                </c:pt>
                <c:pt idx="6">
                  <c:v>0.022933793156152984</c:v>
                </c:pt>
                <c:pt idx="7">
                  <c:v>0.05305367056078226</c:v>
                </c:pt>
                <c:pt idx="8">
                  <c:v>0.016505258068993306</c:v>
                </c:pt>
                <c:pt idx="9">
                  <c:v>0.01480468372668552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0921024996954196</c:v>
                </c:pt>
                <c:pt idx="1">
                  <c:v>0.022013794513369753</c:v>
                </c:pt>
                <c:pt idx="2">
                  <c:v>0.00601647294514509</c:v>
                </c:pt>
                <c:pt idx="3">
                  <c:v>0.05994837120816296</c:v>
                </c:pt>
                <c:pt idx="4">
                  <c:v>0.023502461461467138</c:v>
                </c:pt>
                <c:pt idx="5">
                  <c:v>0.07925451566522052</c:v>
                </c:pt>
                <c:pt idx="6">
                  <c:v>0.10057809753875296</c:v>
                </c:pt>
                <c:pt idx="7">
                  <c:v>0.2526766112173091</c:v>
                </c:pt>
                <c:pt idx="8">
                  <c:v>0.2504997063205352</c:v>
                </c:pt>
                <c:pt idx="9">
                  <c:v>0.1571946822549919</c:v>
                </c:pt>
                <c:pt idx="10">
                  <c:v>0.0472231843753500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2664777716174217</c:v>
                </c:pt>
                <c:pt idx="1">
                  <c:v>0.01455215005945285</c:v>
                </c:pt>
                <c:pt idx="2">
                  <c:v>0.03179315798758306</c:v>
                </c:pt>
                <c:pt idx="3">
                  <c:v>0.04819725041892283</c:v>
                </c:pt>
                <c:pt idx="4">
                  <c:v>0.03617240173912875</c:v>
                </c:pt>
                <c:pt idx="5">
                  <c:v>0.10756737889583758</c:v>
                </c:pt>
                <c:pt idx="6">
                  <c:v>0.1437797360274827</c:v>
                </c:pt>
                <c:pt idx="7">
                  <c:v>0.16541094068946494</c:v>
                </c:pt>
                <c:pt idx="8">
                  <c:v>0.17248314445239338</c:v>
                </c:pt>
                <c:pt idx="9">
                  <c:v>0.20438488641867086</c:v>
                </c:pt>
                <c:pt idx="10">
                  <c:v>0.0629941755948888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9772656352017654</c:v>
                </c:pt>
                <c:pt idx="1">
                  <c:v>0.023212152827471175</c:v>
                </c:pt>
                <c:pt idx="2">
                  <c:v>0.009527632047204786</c:v>
                </c:pt>
                <c:pt idx="3">
                  <c:v>0.020834565919059692</c:v>
                </c:pt>
                <c:pt idx="4">
                  <c:v>0.05628095249632727</c:v>
                </c:pt>
                <c:pt idx="5">
                  <c:v>0.148585540071408</c:v>
                </c:pt>
                <c:pt idx="6">
                  <c:v>0.13431405689832426</c:v>
                </c:pt>
                <c:pt idx="7">
                  <c:v>0.17459164325638374</c:v>
                </c:pt>
                <c:pt idx="8">
                  <c:v>0.24859878263049723</c:v>
                </c:pt>
                <c:pt idx="9">
                  <c:v>0.15784269013818414</c:v>
                </c:pt>
                <c:pt idx="10">
                  <c:v>0.00643932736312209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6578369953938744</c:v>
                </c:pt>
                <c:pt idx="1">
                  <c:v>0.039748049335277494</c:v>
                </c:pt>
                <c:pt idx="2">
                  <c:v>0.036152583544337216</c:v>
                </c:pt>
                <c:pt idx="3">
                  <c:v>0.02546984975086074</c:v>
                </c:pt>
                <c:pt idx="4">
                  <c:v>0.06481388038274538</c:v>
                </c:pt>
                <c:pt idx="5">
                  <c:v>0.0851977002451823</c:v>
                </c:pt>
                <c:pt idx="6">
                  <c:v>0.17447621527054125</c:v>
                </c:pt>
                <c:pt idx="7">
                  <c:v>0.20259246306990597</c:v>
                </c:pt>
                <c:pt idx="8">
                  <c:v>0.20923515941614845</c:v>
                </c:pt>
                <c:pt idx="9">
                  <c:v>0.10072276476360653</c:v>
                </c:pt>
                <c:pt idx="10">
                  <c:v>0.0050129642674558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3220514636903894</c:v>
                </c:pt>
                <c:pt idx="1">
                  <c:v>0.012441037528871992</c:v>
                </c:pt>
                <c:pt idx="2">
                  <c:v>0.0876245748015091</c:v>
                </c:pt>
                <c:pt idx="3">
                  <c:v>0.030282854374379737</c:v>
                </c:pt>
                <c:pt idx="4">
                  <c:v>0.14027776593737548</c:v>
                </c:pt>
                <c:pt idx="5">
                  <c:v>0.28950622024873895</c:v>
                </c:pt>
                <c:pt idx="6">
                  <c:v>0.21798642705429877</c:v>
                </c:pt>
                <c:pt idx="7">
                  <c:v>0.05658159874439702</c:v>
                </c:pt>
                <c:pt idx="8">
                  <c:v>0.09882715982471645</c:v>
                </c:pt>
                <c:pt idx="9">
                  <c:v>0.0132518468488086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2513173424829716</c:v>
                </c:pt>
                <c:pt idx="1">
                  <c:v>0.02399531318055816</c:v>
                </c:pt>
                <c:pt idx="2">
                  <c:v>0.017913651730790934</c:v>
                </c:pt>
                <c:pt idx="3">
                  <c:v>0.04759709771413086</c:v>
                </c:pt>
                <c:pt idx="4">
                  <c:v>0.09651889967226963</c:v>
                </c:pt>
                <c:pt idx="5">
                  <c:v>0.11494751174683011</c:v>
                </c:pt>
                <c:pt idx="6">
                  <c:v>0.1736599363969465</c:v>
                </c:pt>
                <c:pt idx="7">
                  <c:v>0.17952376942204418</c:v>
                </c:pt>
                <c:pt idx="8">
                  <c:v>0.0828936000585582</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943762752384092</c:v>
                </c:pt>
                <c:pt idx="1">
                  <c:v>0.01733909455451033</c:v>
                </c:pt>
                <c:pt idx="2">
                  <c:v>0.04808871651965523</c:v>
                </c:pt>
                <c:pt idx="3">
                  <c:v>0.20562364600569663</c:v>
                </c:pt>
                <c:pt idx="4">
                  <c:v>0.06674854741972457</c:v>
                </c:pt>
                <c:pt idx="5">
                  <c:v>0.12200576981432011</c:v>
                </c:pt>
                <c:pt idx="6">
                  <c:v>0.04618493716342849</c:v>
                </c:pt>
                <c:pt idx="7">
                  <c:v>0.2232454479683828</c:v>
                </c:pt>
                <c:pt idx="8">
                  <c:v>0.15135974545254935</c:v>
                </c:pt>
                <c:pt idx="9">
                  <c:v>0.08959978013454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9433076220715705</c:v>
                </c:pt>
                <c:pt idx="2">
                  <c:v>0.015808316239147732</c:v>
                </c:pt>
                <c:pt idx="3">
                  <c:v>0.07953967284854058</c:v>
                </c:pt>
                <c:pt idx="4">
                  <c:v>0.04615894771834592</c:v>
                </c:pt>
                <c:pt idx="5">
                  <c:v>0.035006207408320195</c:v>
                </c:pt>
                <c:pt idx="6">
                  <c:v>0.010506928851688921</c:v>
                </c:pt>
                <c:pt idx="7">
                  <c:v>0.09102463177222263</c:v>
                </c:pt>
                <c:pt idx="8">
                  <c:v>0.01409373479272905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4185496993801796</c:v>
                </c:pt>
                <c:pt idx="2">
                  <c:v>0.005886751138356307</c:v>
                </c:pt>
                <c:pt idx="3">
                  <c:v>0.07568168528926024</c:v>
                </c:pt>
                <c:pt idx="4">
                  <c:v>0.0254269368312801</c:v>
                </c:pt>
                <c:pt idx="5">
                  <c:v>0.09477184033444332</c:v>
                </c:pt>
                <c:pt idx="6">
                  <c:v>0.12889598069765412</c:v>
                </c:pt>
                <c:pt idx="7">
                  <c:v>0.1342547122947091</c:v>
                </c:pt>
                <c:pt idx="8">
                  <c:v>0.32909591222530005</c:v>
                </c:pt>
                <c:pt idx="9">
                  <c:v>0.10836522028352404</c:v>
                </c:pt>
                <c:pt idx="10">
                  <c:v>0.09281769757231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123378839714148</c:v>
                </c:pt>
                <c:pt idx="1">
                  <c:v>0.003917522258253052</c:v>
                </c:pt>
                <c:pt idx="2">
                  <c:v>0.02057397007954328</c:v>
                </c:pt>
                <c:pt idx="3">
                  <c:v>0.09217434910521578</c:v>
                </c:pt>
                <c:pt idx="4">
                  <c:v>0.02406388014634632</c:v>
                </c:pt>
                <c:pt idx="5">
                  <c:v>0.0816034254978243</c:v>
                </c:pt>
                <c:pt idx="6">
                  <c:v>0.1229698551242565</c:v>
                </c:pt>
                <c:pt idx="7">
                  <c:v>0.20932020763186437</c:v>
                </c:pt>
                <c:pt idx="8">
                  <c:v>0.14848773889644468</c:v>
                </c:pt>
                <c:pt idx="9">
                  <c:v>0.13344545786542822</c:v>
                </c:pt>
                <c:pt idx="10">
                  <c:v>0.159320214555109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80570518301911</c:v>
                </c:pt>
                <c:pt idx="1">
                  <c:v>0.007178750156815216</c:v>
                </c:pt>
                <c:pt idx="2">
                  <c:v>0.0074170086151862345</c:v>
                </c:pt>
                <c:pt idx="3">
                  <c:v>0.012870735468148011</c:v>
                </c:pt>
                <c:pt idx="4">
                  <c:v>0.06630866936656049</c:v>
                </c:pt>
                <c:pt idx="5">
                  <c:v>0.16040717619239409</c:v>
                </c:pt>
                <c:pt idx="6">
                  <c:v>0.13239687151562307</c:v>
                </c:pt>
                <c:pt idx="7">
                  <c:v>0.173339954185473</c:v>
                </c:pt>
                <c:pt idx="8">
                  <c:v>0.20746469137783644</c:v>
                </c:pt>
                <c:pt idx="9">
                  <c:v>0.13202397008973618</c:v>
                </c:pt>
                <c:pt idx="10">
                  <c:v>0.06878646784920812</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150705379299439</c:v>
                </c:pt>
                <c:pt idx="1">
                  <c:v>0.00909028530886476</c:v>
                </c:pt>
                <c:pt idx="2">
                  <c:v>0.016253323699152004</c:v>
                </c:pt>
                <c:pt idx="3">
                  <c:v>0.012374473445219698</c:v>
                </c:pt>
                <c:pt idx="4">
                  <c:v>0.05204405825364189</c:v>
                </c:pt>
                <c:pt idx="5">
                  <c:v>0.09152604210398443</c:v>
                </c:pt>
                <c:pt idx="6">
                  <c:v>0.2020329428615326</c:v>
                </c:pt>
                <c:pt idx="7">
                  <c:v>0.15911147347283777</c:v>
                </c:pt>
                <c:pt idx="8">
                  <c:v>0.3668452921707197</c:v>
                </c:pt>
                <c:pt idx="9">
                  <c:v>0.079215054891052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1847693416567174</c:v>
                </c:pt>
                <c:pt idx="1">
                  <c:v>0.0864207716887703</c:v>
                </c:pt>
                <c:pt idx="2">
                  <c:v>0.014979502724817682</c:v>
                </c:pt>
                <c:pt idx="3">
                  <c:v>0.03843574548168264</c:v>
                </c:pt>
                <c:pt idx="4">
                  <c:v>0.09221361436269071</c:v>
                </c:pt>
                <c:pt idx="5">
                  <c:v>0.23543198442819938</c:v>
                </c:pt>
                <c:pt idx="6">
                  <c:v>0.18117729862300258</c:v>
                </c:pt>
                <c:pt idx="7">
                  <c:v>0.20368518910803782</c:v>
                </c:pt>
                <c:pt idx="8">
                  <c:v>0.09721797951433478</c:v>
                </c:pt>
                <c:pt idx="9">
                  <c:v>0.0285902206518969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11144784079699287</c:v>
                </c:pt>
                <c:pt idx="1">
                  <c:v>0.008639228791782883</c:v>
                </c:pt>
                <c:pt idx="2">
                  <c:v>0.007022737973033661</c:v>
                </c:pt>
                <c:pt idx="3">
                  <c:v>0.027032315135339206</c:v>
                </c:pt>
                <c:pt idx="4">
                  <c:v>0.0996247835885887</c:v>
                </c:pt>
                <c:pt idx="5">
                  <c:v>0.080920570595953</c:v>
                </c:pt>
                <c:pt idx="6">
                  <c:v>0.20955945736429468</c:v>
                </c:pt>
                <c:pt idx="7">
                  <c:v>0.2381784205925838</c:v>
                </c:pt>
                <c:pt idx="8">
                  <c:v>0.13772118601552835</c:v>
                </c:pt>
                <c:pt idx="9">
                  <c:v>0.06568136875285141</c:v>
                </c:pt>
                <c:pt idx="10">
                  <c:v>0.01417209039305146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8452095700271858</c:v>
                </c:pt>
                <c:pt idx="1">
                  <c:v>0.006903841536690244</c:v>
                </c:pt>
                <c:pt idx="2">
                  <c:v>0.0389931381088845</c:v>
                </c:pt>
                <c:pt idx="3">
                  <c:v>0.09288575427537832</c:v>
                </c:pt>
                <c:pt idx="4">
                  <c:v>0.12661389106941554</c:v>
                </c:pt>
                <c:pt idx="5">
                  <c:v>0.1413982861723846</c:v>
                </c:pt>
                <c:pt idx="6">
                  <c:v>0.08327672553420401</c:v>
                </c:pt>
                <c:pt idx="7">
                  <c:v>0.25943750265456544</c:v>
                </c:pt>
                <c:pt idx="8">
                  <c:v>0.16769832304927204</c:v>
                </c:pt>
                <c:pt idx="9">
                  <c:v>0.050813195599909045</c:v>
                </c:pt>
                <c:pt idx="10">
                  <c:v>0.00352724629902446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14769469987927959</c:v>
                </c:pt>
                <c:pt idx="2">
                  <c:v>0.0023174585769354574</c:v>
                </c:pt>
                <c:pt idx="3">
                  <c:v>0.05488916484049448</c:v>
                </c:pt>
                <c:pt idx="4">
                  <c:v>0.021417116059667604</c:v>
                </c:pt>
                <c:pt idx="5">
                  <c:v>0.05495478582417153</c:v>
                </c:pt>
                <c:pt idx="6">
                  <c:v>0.14927955263464024</c:v>
                </c:pt>
                <c:pt idx="7">
                  <c:v>0.13229106377391028</c:v>
                </c:pt>
                <c:pt idx="8">
                  <c:v>0.3129947207790715</c:v>
                </c:pt>
                <c:pt idx="9">
                  <c:v>0.14351243301228028</c:v>
                </c:pt>
                <c:pt idx="10">
                  <c:v>0.1132490185854586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8625546990269144</c:v>
                </c:pt>
                <c:pt idx="6">
                  <c:v>0.01145478071794009</c:v>
                </c:pt>
                <c:pt idx="7">
                  <c:v>0.022883222378001097</c:v>
                </c:pt>
                <c:pt idx="8">
                  <c:v>0.05329542368167689</c:v>
                </c:pt>
                <c:pt idx="9">
                  <c:v>0.007251936321712222</c:v>
                </c:pt>
                <c:pt idx="10">
                  <c:v>0.000801307300575532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18415107764803</c:v>
                </c:pt>
                <c:pt idx="1">
                  <c:v>0.012433173216472356</c:v>
                </c:pt>
                <c:pt idx="2">
                  <c:v>0.016653419563341498</c:v>
                </c:pt>
                <c:pt idx="3">
                  <c:v>0.04528856379315839</c:v>
                </c:pt>
                <c:pt idx="4">
                  <c:v>0.06046988050298088</c:v>
                </c:pt>
                <c:pt idx="5">
                  <c:v>0.0680466923150633</c:v>
                </c:pt>
                <c:pt idx="6">
                  <c:v>0.10564996279910281</c:v>
                </c:pt>
                <c:pt idx="7">
                  <c:v>0.20914003576282764</c:v>
                </c:pt>
                <c:pt idx="8">
                  <c:v>0.18189208301942125</c:v>
                </c:pt>
                <c:pt idx="9">
                  <c:v>0.05089155113736633</c:v>
                </c:pt>
                <c:pt idx="10">
                  <c:v>0.2431162227825007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5618546593806815</c:v>
                </c:pt>
                <c:pt idx="8">
                  <c:v>0.01064244743802032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33413980241707</c:v>
                </c:pt>
                <c:pt idx="1">
                  <c:v>0.01851603825304579</c:v>
                </c:pt>
                <c:pt idx="2">
                  <c:v>0.010825272627964894</c:v>
                </c:pt>
                <c:pt idx="3">
                  <c:v>0.013085022230190355</c:v>
                </c:pt>
                <c:pt idx="4">
                  <c:v>0.0227156576849857</c:v>
                </c:pt>
                <c:pt idx="5">
                  <c:v>0.1524147583644131</c:v>
                </c:pt>
                <c:pt idx="6">
                  <c:v>0.13260461332691367</c:v>
                </c:pt>
                <c:pt idx="7">
                  <c:v>0.1470694906223056</c:v>
                </c:pt>
                <c:pt idx="8">
                  <c:v>0.27489550926232</c:v>
                </c:pt>
                <c:pt idx="9">
                  <c:v>0.18418147748810215</c:v>
                </c:pt>
                <c:pt idx="10">
                  <c:v>0.02135802033734167</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3951101757598065</c:v>
                </c:pt>
                <c:pt idx="1">
                  <c:v>0.02171650644987758</c:v>
                </c:pt>
                <c:pt idx="2">
                  <c:v>0.04139958778297513</c:v>
                </c:pt>
                <c:pt idx="3">
                  <c:v>0.021668009689674438</c:v>
                </c:pt>
                <c:pt idx="4">
                  <c:v>0.05255720112425198</c:v>
                </c:pt>
                <c:pt idx="5">
                  <c:v>0.06370169681351301</c:v>
                </c:pt>
                <c:pt idx="6">
                  <c:v>0.13085829476746524</c:v>
                </c:pt>
                <c:pt idx="7">
                  <c:v>0.1779074165462232</c:v>
                </c:pt>
                <c:pt idx="8">
                  <c:v>0.3818249301703122</c:v>
                </c:pt>
                <c:pt idx="9">
                  <c:v>0.07158504610109587</c:v>
                </c:pt>
                <c:pt idx="10">
                  <c:v>0.002830208797013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4</c:v>
                </c:pt>
                <c:pt idx="1">
                  <c:v>0.01635770415645972</c:v>
                </c:pt>
                <c:pt idx="2">
                  <c:v>0.02830249093571153</c:v>
                </c:pt>
                <c:pt idx="3">
                  <c:v>0.04230119368623569</c:v>
                </c:pt>
                <c:pt idx="4">
                  <c:v>0.08700597572922346</c:v>
                </c:pt>
                <c:pt idx="5">
                  <c:v>0.09608665800091051</c:v>
                </c:pt>
                <c:pt idx="6">
                  <c:v>0.11481564554959318</c:v>
                </c:pt>
                <c:pt idx="7">
                  <c:v>0.16444298417770556</c:v>
                </c:pt>
                <c:pt idx="8">
                  <c:v>0.2120085005494714</c:v>
                </c:pt>
                <c:pt idx="9">
                  <c:v>0.11609744764373198</c:v>
                </c:pt>
                <c:pt idx="10">
                  <c:v>0.0605034985697994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122923696978768</c:v>
                </c:pt>
                <c:pt idx="1">
                  <c:v>0.03420814609101958</c:v>
                </c:pt>
                <c:pt idx="2">
                  <c:v>0.04638899137720838</c:v>
                </c:pt>
                <c:pt idx="3">
                  <c:v>0.042363038609228514</c:v>
                </c:pt>
                <c:pt idx="4">
                  <c:v>0.07359900122735238</c:v>
                </c:pt>
                <c:pt idx="5">
                  <c:v>0.21666215265832334</c:v>
                </c:pt>
                <c:pt idx="6">
                  <c:v>0.35850197330543987</c:v>
                </c:pt>
                <c:pt idx="7">
                  <c:v>0.11680761238296966</c:v>
                </c:pt>
                <c:pt idx="8">
                  <c:v>0.04725081386910258</c:v>
                </c:pt>
                <c:pt idx="9">
                  <c:v>0.022988851810587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19498331266352525</c:v>
                </c:pt>
                <c:pt idx="1">
                  <c:v>0.012898740235923686</c:v>
                </c:pt>
                <c:pt idx="2">
                  <c:v>0.017945797245864717</c:v>
                </c:pt>
                <c:pt idx="3">
                  <c:v>0.029439778517212502</c:v>
                </c:pt>
                <c:pt idx="4">
                  <c:v>0.09651530230186481</c:v>
                </c:pt>
                <c:pt idx="5">
                  <c:v>0.0844069283671941</c:v>
                </c:pt>
                <c:pt idx="6">
                  <c:v>0.18499548315225822</c:v>
                </c:pt>
                <c:pt idx="7">
                  <c:v>0.2542396250926039</c:v>
                </c:pt>
                <c:pt idx="8">
                  <c:v>0.10017514101023534</c:v>
                </c:pt>
                <c:pt idx="9">
                  <c:v>0.020524173093343596</c:v>
                </c:pt>
                <c:pt idx="10">
                  <c:v>0.003875718319973872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8613377585847987</c:v>
                </c:pt>
                <c:pt idx="1">
                  <c:v>0.0156302030123537</c:v>
                </c:pt>
                <c:pt idx="2">
                  <c:v>0.03529498132174272</c:v>
                </c:pt>
                <c:pt idx="3">
                  <c:v>0.17153808610810198</c:v>
                </c:pt>
                <c:pt idx="4">
                  <c:v>0.13353047605469773</c:v>
                </c:pt>
                <c:pt idx="5">
                  <c:v>0.1291715379288184</c:v>
                </c:pt>
                <c:pt idx="6">
                  <c:v>0.07250731365668489</c:v>
                </c:pt>
                <c:pt idx="7">
                  <c:v>0.21110141717184974</c:v>
                </c:pt>
                <c:pt idx="8">
                  <c:v>0.1733531988133058</c:v>
                </c:pt>
                <c:pt idx="9">
                  <c:v>0.01994053861950895</c:v>
                </c:pt>
                <c:pt idx="10">
                  <c:v>0.00931886972708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0921024996954196</c:v>
                </c:pt>
                <c:pt idx="1">
                  <c:v>0.022013794513369753</c:v>
                </c:pt>
                <c:pt idx="2">
                  <c:v>0.00601647294514509</c:v>
                </c:pt>
                <c:pt idx="3">
                  <c:v>0.05994837120816296</c:v>
                </c:pt>
                <c:pt idx="4">
                  <c:v>0.023502461461467138</c:v>
                </c:pt>
                <c:pt idx="5">
                  <c:v>0.07925451566522052</c:v>
                </c:pt>
                <c:pt idx="6">
                  <c:v>0.10057809753875296</c:v>
                </c:pt>
                <c:pt idx="7">
                  <c:v>0.2526766112173091</c:v>
                </c:pt>
                <c:pt idx="8">
                  <c:v>0.2504997063205352</c:v>
                </c:pt>
                <c:pt idx="9">
                  <c:v>0.1571946822549919</c:v>
                </c:pt>
                <c:pt idx="10">
                  <c:v>0.0472231843753500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57158776338552915</c:v>
                </c:pt>
                <c:pt idx="4">
                  <c:v>0.0009567560681312612</c:v>
                </c:pt>
                <c:pt idx="5">
                  <c:v>0.004289910868172863</c:v>
                </c:pt>
                <c:pt idx="6">
                  <c:v>0.0016244894625011563</c:v>
                </c:pt>
                <c:pt idx="7">
                  <c:v>0.004216145629764927</c:v>
                </c:pt>
                <c:pt idx="8">
                  <c:v>0.0017156371054816149</c:v>
                </c:pt>
                <c:pt idx="9">
                  <c:v>0.000646066489223846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43846185497573254</c:v>
                </c:pt>
                <c:pt idx="6">
                  <c:v>0.016601237523760515</c:v>
                </c:pt>
                <c:pt idx="7">
                  <c:v>0.042002967665951234</c:v>
                </c:pt>
                <c:pt idx="8">
                  <c:v>0.03574887950796415</c:v>
                </c:pt>
                <c:pt idx="9">
                  <c:v>0.008992305718647522</c:v>
                </c:pt>
                <c:pt idx="10">
                  <c:v>0.001076608769049459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2664777716174217</c:v>
                </c:pt>
                <c:pt idx="1">
                  <c:v>0.01455215005945285</c:v>
                </c:pt>
                <c:pt idx="2">
                  <c:v>0.03179315798758306</c:v>
                </c:pt>
                <c:pt idx="3">
                  <c:v>0.04819725041892283</c:v>
                </c:pt>
                <c:pt idx="4">
                  <c:v>0.03617240173912875</c:v>
                </c:pt>
                <c:pt idx="5">
                  <c:v>0.10756737889583758</c:v>
                </c:pt>
                <c:pt idx="6">
                  <c:v>0.1437797360274827</c:v>
                </c:pt>
                <c:pt idx="7">
                  <c:v>0.16541094068946494</c:v>
                </c:pt>
                <c:pt idx="8">
                  <c:v>0.17248314445239338</c:v>
                </c:pt>
                <c:pt idx="9">
                  <c:v>0.20438488641867086</c:v>
                </c:pt>
                <c:pt idx="10">
                  <c:v>0.0629941755948888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37298040148804625</c:v>
                </c:pt>
                <c:pt idx="8">
                  <c:v>0.01297550588120280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9772656352017654</c:v>
                </c:pt>
                <c:pt idx="1">
                  <c:v>0.023212152827471175</c:v>
                </c:pt>
                <c:pt idx="2">
                  <c:v>0.009527632047204786</c:v>
                </c:pt>
                <c:pt idx="3">
                  <c:v>0.020834565919059692</c:v>
                </c:pt>
                <c:pt idx="4">
                  <c:v>0.05628095249632727</c:v>
                </c:pt>
                <c:pt idx="5">
                  <c:v>0.148585540071408</c:v>
                </c:pt>
                <c:pt idx="6">
                  <c:v>0.13431405689832426</c:v>
                </c:pt>
                <c:pt idx="7">
                  <c:v>0.17459164325638374</c:v>
                </c:pt>
                <c:pt idx="8">
                  <c:v>0.24859878263049723</c:v>
                </c:pt>
                <c:pt idx="9">
                  <c:v>0.15784269013818414</c:v>
                </c:pt>
                <c:pt idx="10">
                  <c:v>0.00643932736312209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6578369953938744</c:v>
                </c:pt>
                <c:pt idx="1">
                  <c:v>0.039748049335277494</c:v>
                </c:pt>
                <c:pt idx="2">
                  <c:v>0.036152583544337216</c:v>
                </c:pt>
                <c:pt idx="3">
                  <c:v>0.02546984975086074</c:v>
                </c:pt>
                <c:pt idx="4">
                  <c:v>0.06481388038274538</c:v>
                </c:pt>
                <c:pt idx="5">
                  <c:v>0.0851977002451823</c:v>
                </c:pt>
                <c:pt idx="6">
                  <c:v>0.17447621527054125</c:v>
                </c:pt>
                <c:pt idx="7">
                  <c:v>0.20259246306990597</c:v>
                </c:pt>
                <c:pt idx="8">
                  <c:v>0.20923515941614845</c:v>
                </c:pt>
                <c:pt idx="9">
                  <c:v>0.10072276476360653</c:v>
                </c:pt>
                <c:pt idx="10">
                  <c:v>0.0050129642674558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3220514636903894</c:v>
                </c:pt>
                <c:pt idx="1">
                  <c:v>0.012441037528871992</c:v>
                </c:pt>
                <c:pt idx="2">
                  <c:v>0.0876245748015091</c:v>
                </c:pt>
                <c:pt idx="3">
                  <c:v>0.030282854374379737</c:v>
                </c:pt>
                <c:pt idx="4">
                  <c:v>0.14027776593737548</c:v>
                </c:pt>
                <c:pt idx="5">
                  <c:v>0.28950622024873895</c:v>
                </c:pt>
                <c:pt idx="6">
                  <c:v>0.21798642705429877</c:v>
                </c:pt>
                <c:pt idx="7">
                  <c:v>0.05658159874439702</c:v>
                </c:pt>
                <c:pt idx="8">
                  <c:v>0.09882715982471645</c:v>
                </c:pt>
                <c:pt idx="9">
                  <c:v>0.0132518468488086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2513173424829716</c:v>
                </c:pt>
                <c:pt idx="1">
                  <c:v>0.02399531318055816</c:v>
                </c:pt>
                <c:pt idx="2">
                  <c:v>0.017913651730790934</c:v>
                </c:pt>
                <c:pt idx="3">
                  <c:v>0.04759709771413086</c:v>
                </c:pt>
                <c:pt idx="4">
                  <c:v>0.09651889967226963</c:v>
                </c:pt>
                <c:pt idx="5">
                  <c:v>0.11494751174683011</c:v>
                </c:pt>
                <c:pt idx="6">
                  <c:v>0.1736599363969465</c:v>
                </c:pt>
                <c:pt idx="7">
                  <c:v>0.17952376942204418</c:v>
                </c:pt>
                <c:pt idx="8">
                  <c:v>0.0828936000585582</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943762752384092</c:v>
                </c:pt>
                <c:pt idx="1">
                  <c:v>0.01733909455451033</c:v>
                </c:pt>
                <c:pt idx="2">
                  <c:v>0.04808871651965523</c:v>
                </c:pt>
                <c:pt idx="3">
                  <c:v>0.20562364600569663</c:v>
                </c:pt>
                <c:pt idx="4">
                  <c:v>0.06674854741972457</c:v>
                </c:pt>
                <c:pt idx="5">
                  <c:v>0.12200576981432011</c:v>
                </c:pt>
                <c:pt idx="6">
                  <c:v>0.04618493716342849</c:v>
                </c:pt>
                <c:pt idx="7">
                  <c:v>0.2232454479683828</c:v>
                </c:pt>
                <c:pt idx="8">
                  <c:v>0.15135974545254935</c:v>
                </c:pt>
                <c:pt idx="9">
                  <c:v>0.08959978013454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4185496993801796</c:v>
                </c:pt>
                <c:pt idx="2">
                  <c:v>0.005886751138356307</c:v>
                </c:pt>
                <c:pt idx="3">
                  <c:v>0.07568168528926024</c:v>
                </c:pt>
                <c:pt idx="4">
                  <c:v>0.0254269368312801</c:v>
                </c:pt>
                <c:pt idx="5">
                  <c:v>0.09477184033444332</c:v>
                </c:pt>
                <c:pt idx="6">
                  <c:v>0.12889598069765412</c:v>
                </c:pt>
                <c:pt idx="7">
                  <c:v>0.1342547122947091</c:v>
                </c:pt>
                <c:pt idx="8">
                  <c:v>0.32909591222530005</c:v>
                </c:pt>
                <c:pt idx="9">
                  <c:v>0.10836522028352404</c:v>
                </c:pt>
                <c:pt idx="10">
                  <c:v>0.09281769757231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1896502549652692</c:v>
                </c:pt>
                <c:pt idx="6">
                  <c:v>0.01726077346311387</c:v>
                </c:pt>
                <c:pt idx="7">
                  <c:v>0.016311361300978516</c:v>
                </c:pt>
                <c:pt idx="8">
                  <c:v>0.08246515083130951</c:v>
                </c:pt>
                <c:pt idx="9">
                  <c:v>0.01140012387078055</c:v>
                </c:pt>
                <c:pt idx="10">
                  <c:v>0.0008380385492259739</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123378839714148</c:v>
                </c:pt>
                <c:pt idx="1">
                  <c:v>0.003917522258253052</c:v>
                </c:pt>
                <c:pt idx="2">
                  <c:v>0.02057397007954328</c:v>
                </c:pt>
                <c:pt idx="3">
                  <c:v>0.09217434910521578</c:v>
                </c:pt>
                <c:pt idx="4">
                  <c:v>0.02406388014634632</c:v>
                </c:pt>
                <c:pt idx="5">
                  <c:v>0.0816034254978243</c:v>
                </c:pt>
                <c:pt idx="6">
                  <c:v>0.1229698551242565</c:v>
                </c:pt>
                <c:pt idx="7">
                  <c:v>0.20932020763186437</c:v>
                </c:pt>
                <c:pt idx="8">
                  <c:v>0.14848773889644468</c:v>
                </c:pt>
                <c:pt idx="9">
                  <c:v>0.13344545786542822</c:v>
                </c:pt>
                <c:pt idx="10">
                  <c:v>0.159320214555109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6774110162039201</c:v>
                </c:pt>
                <c:pt idx="7">
                  <c:v>0.0011066114815078863</c:v>
                </c:pt>
                <c:pt idx="8">
                  <c:v>0.01283068706682528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80570518301911</c:v>
                </c:pt>
                <c:pt idx="1">
                  <c:v>0.007178750156815216</c:v>
                </c:pt>
                <c:pt idx="2">
                  <c:v>0.0074170086151862345</c:v>
                </c:pt>
                <c:pt idx="3">
                  <c:v>0.012870735468148011</c:v>
                </c:pt>
                <c:pt idx="4">
                  <c:v>0.06630866936656049</c:v>
                </c:pt>
                <c:pt idx="5">
                  <c:v>0.16040717619239409</c:v>
                </c:pt>
                <c:pt idx="6">
                  <c:v>0.13239687151562307</c:v>
                </c:pt>
                <c:pt idx="7">
                  <c:v>0.173339954185473</c:v>
                </c:pt>
                <c:pt idx="8">
                  <c:v>0.20746469137783644</c:v>
                </c:pt>
                <c:pt idx="9">
                  <c:v>0.13202397008973618</c:v>
                </c:pt>
                <c:pt idx="10">
                  <c:v>0.06878646784920812</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150705379299439</c:v>
                </c:pt>
                <c:pt idx="1">
                  <c:v>0.00909028530886476</c:v>
                </c:pt>
                <c:pt idx="2">
                  <c:v>0.016253323699152004</c:v>
                </c:pt>
                <c:pt idx="3">
                  <c:v>0.012374473445219698</c:v>
                </c:pt>
                <c:pt idx="4">
                  <c:v>0.05204405825364189</c:v>
                </c:pt>
                <c:pt idx="5">
                  <c:v>0.09152604210398443</c:v>
                </c:pt>
                <c:pt idx="6">
                  <c:v>0.2020329428615326</c:v>
                </c:pt>
                <c:pt idx="7">
                  <c:v>0.15911147347283777</c:v>
                </c:pt>
                <c:pt idx="8">
                  <c:v>0.3668452921707197</c:v>
                </c:pt>
                <c:pt idx="9">
                  <c:v>0.079215054891052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1847693416567174</c:v>
                </c:pt>
                <c:pt idx="1">
                  <c:v>0.0864207716887703</c:v>
                </c:pt>
                <c:pt idx="2">
                  <c:v>0.014979502724817682</c:v>
                </c:pt>
                <c:pt idx="3">
                  <c:v>0.03843574548168264</c:v>
                </c:pt>
                <c:pt idx="4">
                  <c:v>0.09221361436269071</c:v>
                </c:pt>
                <c:pt idx="5">
                  <c:v>0.23543198442819938</c:v>
                </c:pt>
                <c:pt idx="6">
                  <c:v>0.18117729862300258</c:v>
                </c:pt>
                <c:pt idx="7">
                  <c:v>0.20368518910803782</c:v>
                </c:pt>
                <c:pt idx="8">
                  <c:v>0.09721797951433478</c:v>
                </c:pt>
                <c:pt idx="9">
                  <c:v>0.0285902206518969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11144784079699287</c:v>
                </c:pt>
                <c:pt idx="1">
                  <c:v>0.008639228791782883</c:v>
                </c:pt>
                <c:pt idx="2">
                  <c:v>0.007022737973033661</c:v>
                </c:pt>
                <c:pt idx="3">
                  <c:v>0.027032315135339206</c:v>
                </c:pt>
                <c:pt idx="4">
                  <c:v>0.0996247835885887</c:v>
                </c:pt>
                <c:pt idx="5">
                  <c:v>0.080920570595953</c:v>
                </c:pt>
                <c:pt idx="6">
                  <c:v>0.20955945736429468</c:v>
                </c:pt>
                <c:pt idx="7">
                  <c:v>0.2381784205925838</c:v>
                </c:pt>
                <c:pt idx="8">
                  <c:v>0.13772118601552835</c:v>
                </c:pt>
                <c:pt idx="9">
                  <c:v>0.06568136875285141</c:v>
                </c:pt>
                <c:pt idx="10">
                  <c:v>0.01417209039305146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c:v>
                </c:pt>
                <c:pt idx="4">
                  <c:v>0.08049847893797098</c:v>
                </c:pt>
                <c:pt idx="5">
                  <c:v>0.11300954238676618</c:v>
                </c:pt>
                <c:pt idx="6">
                  <c:v>0.13054828460312656</c:v>
                </c:pt>
                <c:pt idx="7">
                  <c:v>0.16999688993527617</c:v>
                </c:pt>
                <c:pt idx="8">
                  <c:v>0.1759635740360591</c:v>
                </c:pt>
                <c:pt idx="9">
                  <c:v>0.1247508482589552</c:v>
                </c:pt>
                <c:pt idx="10">
                  <c:v>0.023020666665302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0401641215212906</c:v>
                </c:pt>
                <c:pt idx="4">
                  <c:v>0.0025501673259900166</c:v>
                </c:pt>
                <c:pt idx="5">
                  <c:v>0.0035556965300212423</c:v>
                </c:pt>
                <c:pt idx="6">
                  <c:v>0.0017860739078562468</c:v>
                </c:pt>
                <c:pt idx="7">
                  <c:v>0.004207288306650299</c:v>
                </c:pt>
                <c:pt idx="8">
                  <c:v>0.0012870907741153095</c:v>
                </c:pt>
                <c:pt idx="9">
                  <c:v>0.002435842119285573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5</c:v>
                </c:pt>
                <c:pt idx="1">
                  <c:v>0.015471007476381237</c:v>
                </c:pt>
                <c:pt idx="2">
                  <c:v>0.028116529382288598</c:v>
                </c:pt>
                <c:pt idx="3">
                  <c:v>0.060924029525371806</c:v>
                </c:pt>
                <c:pt idx="4">
                  <c:v>0.09318742552859235</c:v>
                </c:pt>
                <c:pt idx="5">
                  <c:v>0.09328965350171722</c:v>
                </c:pt>
                <c:pt idx="6">
                  <c:v>0.10624332582688127</c:v>
                </c:pt>
                <c:pt idx="7">
                  <c:v>0.17288833054716357</c:v>
                </c:pt>
                <c:pt idx="8">
                  <c:v>0.17090235363397566</c:v>
                </c:pt>
                <c:pt idx="9">
                  <c:v>0.13659252312310796</c:v>
                </c:pt>
                <c:pt idx="10">
                  <c:v>0.05821507314392683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8557090757988714</c:v>
                </c:pt>
                <c:pt idx="3">
                  <c:v>0.004305507235110744</c:v>
                </c:pt>
                <c:pt idx="4">
                  <c:v>0.0024985981994780546</c:v>
                </c:pt>
                <c:pt idx="5">
                  <c:v>0.0018948968970152788</c:v>
                </c:pt>
                <c:pt idx="6">
                  <c:v>0.0005688221943184305</c:v>
                </c:pt>
                <c:pt idx="7">
                  <c:v>0.004927225028614795</c:v>
                </c:pt>
                <c:pt idx="8">
                  <c:v>0.000763351556337494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4</c:v>
                </c:pt>
                <c:pt idx="1">
                  <c:v>0.01635770415645972</c:v>
                </c:pt>
                <c:pt idx="2">
                  <c:v>0.02830249093571153</c:v>
                </c:pt>
                <c:pt idx="3">
                  <c:v>0.04230119368623569</c:v>
                </c:pt>
                <c:pt idx="4">
                  <c:v>0.08700597572922346</c:v>
                </c:pt>
                <c:pt idx="5">
                  <c:v>0.09608665800091051</c:v>
                </c:pt>
                <c:pt idx="6">
                  <c:v>0.11481564554959318</c:v>
                </c:pt>
                <c:pt idx="7">
                  <c:v>0.16444298417770556</c:v>
                </c:pt>
                <c:pt idx="8">
                  <c:v>0.2120085005494714</c:v>
                </c:pt>
                <c:pt idx="9">
                  <c:v>0.11609744764373198</c:v>
                </c:pt>
                <c:pt idx="10">
                  <c:v>0.0605034985697994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027262066062952</c:v>
                </c:pt>
                <c:pt idx="6">
                  <c:v>0.0010604946733321584</c:v>
                </c:pt>
                <c:pt idx="7">
                  <c:v>0.0023717787570514855</c:v>
                </c:pt>
                <c:pt idx="8">
                  <c:v>0.006071430724052173</c:v>
                </c:pt>
                <c:pt idx="9">
                  <c:v>0.00062350712986322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c:v>
                </c:pt>
                <c:pt idx="4">
                  <c:v>0.08049847893797098</c:v>
                </c:pt>
                <c:pt idx="5">
                  <c:v>0.11300954238676618</c:v>
                </c:pt>
                <c:pt idx="6">
                  <c:v>0.13054828460312656</c:v>
                </c:pt>
                <c:pt idx="7">
                  <c:v>0.16999688993527617</c:v>
                </c:pt>
                <c:pt idx="8">
                  <c:v>0.1759635740360591</c:v>
                </c:pt>
                <c:pt idx="9">
                  <c:v>0.1247508482589552</c:v>
                </c:pt>
                <c:pt idx="10">
                  <c:v>0.023020666665302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4172512273142985</c:v>
                </c:pt>
                <c:pt idx="6">
                  <c:v>0.0024872310522562045</c:v>
                </c:pt>
                <c:pt idx="7">
                  <c:v>0.004667833658563696</c:v>
                </c:pt>
                <c:pt idx="8">
                  <c:v>0.005388863008772088</c:v>
                </c:pt>
                <c:pt idx="9">
                  <c:v>0.00082185788783270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5</c:v>
                </c:pt>
                <c:pt idx="1">
                  <c:v>0.015471007476381237</c:v>
                </c:pt>
                <c:pt idx="2">
                  <c:v>0.028116529382288598</c:v>
                </c:pt>
                <c:pt idx="3">
                  <c:v>0.060924029525371806</c:v>
                </c:pt>
                <c:pt idx="4">
                  <c:v>0.09318742552859235</c:v>
                </c:pt>
                <c:pt idx="5">
                  <c:v>0.09328965350171722</c:v>
                </c:pt>
                <c:pt idx="6">
                  <c:v>0.10624332582688127</c:v>
                </c:pt>
                <c:pt idx="7">
                  <c:v>0.17288833054716357</c:v>
                </c:pt>
                <c:pt idx="8">
                  <c:v>0.17090235363397566</c:v>
                </c:pt>
                <c:pt idx="9">
                  <c:v>0.13659252312310796</c:v>
                </c:pt>
                <c:pt idx="10">
                  <c:v>0.05821507314392683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911031556081937</c:v>
                </c:pt>
                <c:pt idx="6">
                  <c:v>0.0016316665628085386</c:v>
                </c:pt>
                <c:pt idx="7">
                  <c:v>0.001701369359043547</c:v>
                </c:pt>
                <c:pt idx="8">
                  <c:v>0.006686351320270802</c:v>
                </c:pt>
                <c:pt idx="9">
                  <c:v>0.000769604075214459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88248935620394</c:v>
                </c:pt>
                <c:pt idx="1">
                  <c:v>0.01625320005116317</c:v>
                </c:pt>
                <c:pt idx="2">
                  <c:v>0.02127098588498281</c:v>
                </c:pt>
                <c:pt idx="3">
                  <c:v>0.039448936569282715</c:v>
                </c:pt>
                <c:pt idx="4">
                  <c:v>0.051569641955082006</c:v>
                </c:pt>
                <c:pt idx="5">
                  <c:v>0.10247762175383172</c:v>
                </c:pt>
                <c:pt idx="6">
                  <c:v>0.1307431312465251</c:v>
                </c:pt>
                <c:pt idx="7">
                  <c:v>0.1778504929039384</c:v>
                </c:pt>
                <c:pt idx="8">
                  <c:v>0.2563771164258904</c:v>
                </c:pt>
                <c:pt idx="9">
                  <c:v>0.10345857949612594</c:v>
                </c:pt>
                <c:pt idx="10">
                  <c:v>0.0817620447775573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454398904869524</c:v>
                </c:pt>
                <c:pt idx="3">
                  <c:v>0.0010914792650602583</c:v>
                </c:pt>
                <c:pt idx="4">
                  <c:v>0.0007475657546542414</c:v>
                </c:pt>
                <c:pt idx="5">
                  <c:v>0.0029901051262225236</c:v>
                </c:pt>
                <c:pt idx="6">
                  <c:v>0.002285169642351142</c:v>
                </c:pt>
                <c:pt idx="7">
                  <c:v>0.006544632091486684</c:v>
                </c:pt>
                <c:pt idx="8">
                  <c:v>0.00770604417295695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95170591014295</c:v>
                </c:pt>
                <c:pt idx="1">
                  <c:v>0.0006555930918114397</c:v>
                </c:pt>
                <c:pt idx="2">
                  <c:v>0.0018509581616242188</c:v>
                </c:pt>
                <c:pt idx="3">
                  <c:v>0.14860049297530936</c:v>
                </c:pt>
                <c:pt idx="4">
                  <c:v>0.3549097890286358</c:v>
                </c:pt>
                <c:pt idx="5">
                  <c:v>0.09234732243761361</c:v>
                </c:pt>
                <c:pt idx="6">
                  <c:v>0.024790528801785797</c:v>
                </c:pt>
                <c:pt idx="7">
                  <c:v>0.128120390097668</c:v>
                </c:pt>
                <c:pt idx="8">
                  <c:v>0.22102038676692065</c:v>
                </c:pt>
                <c:pt idx="9">
                  <c:v>0.00743876892916603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59746573516477</c:v>
                </c:pt>
                <c:pt idx="2">
                  <c:v>0.029168365172154057</c:v>
                </c:pt>
                <c:pt idx="3">
                  <c:v>0.003145368144401667</c:v>
                </c:pt>
                <c:pt idx="4">
                  <c:v>0.015735665051344716</c:v>
                </c:pt>
                <c:pt idx="5">
                  <c:v>0.014067589267378135</c:v>
                </c:pt>
                <c:pt idx="6">
                  <c:v>0.0345148911055699</c:v>
                </c:pt>
                <c:pt idx="7">
                  <c:v>0.16517909111599685</c:v>
                </c:pt>
                <c:pt idx="8">
                  <c:v>0.2171615855822528</c:v>
                </c:pt>
                <c:pt idx="9">
                  <c:v>0.21383677043095903</c:v>
                </c:pt>
                <c:pt idx="10">
                  <c:v>0.3029403576247336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5</c:v>
                </c:pt>
                <c:pt idx="2">
                  <c:v>0.025308299426034547</c:v>
                </c:pt>
                <c:pt idx="3">
                  <c:v>0.05376235000431038</c:v>
                </c:pt>
                <c:pt idx="4">
                  <c:v>0.06047976889902426</c:v>
                </c:pt>
                <c:pt idx="5">
                  <c:v>0.11906086687087766</c:v>
                </c:pt>
                <c:pt idx="6">
                  <c:v>0.13389055283916435</c:v>
                </c:pt>
                <c:pt idx="7">
                  <c:v>0.18936383046379762</c:v>
                </c:pt>
                <c:pt idx="8">
                  <c:v>0.2079537278099954</c:v>
                </c:pt>
                <c:pt idx="9">
                  <c:v>0.1370361635363881</c:v>
                </c:pt>
                <c:pt idx="10">
                  <c:v>0.026717687349304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88488110655021</c:v>
                </c:pt>
                <c:pt idx="3">
                  <c:v>0.004504171129757354</c:v>
                </c:pt>
                <c:pt idx="4">
                  <c:v>0.0008002239117989131</c:v>
                </c:pt>
                <c:pt idx="5">
                  <c:v>0.003204383171782237</c:v>
                </c:pt>
                <c:pt idx="6">
                  <c:v>0.002846086397167409</c:v>
                </c:pt>
                <c:pt idx="7">
                  <c:v>0.007779802096760204</c:v>
                </c:pt>
                <c:pt idx="8">
                  <c:v>0.00721137534056697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c:v>
                </c:pt>
                <c:pt idx="5">
                  <c:v>0.07999615168178827</c:v>
                </c:pt>
                <c:pt idx="6">
                  <c:v>0.09644564249232465</c:v>
                </c:pt>
                <c:pt idx="7">
                  <c:v>0.11128880451125545</c:v>
                </c:pt>
                <c:pt idx="8">
                  <c:v>0.17753774739433337</c:v>
                </c:pt>
                <c:pt idx="9">
                  <c:v>0.00929137576522382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07063617840164</c:v>
                </c:pt>
                <c:pt idx="1">
                  <c:v>0.0028111852108087237</c:v>
                </c:pt>
                <c:pt idx="2">
                  <c:v>0.011733795016715527</c:v>
                </c:pt>
                <c:pt idx="3">
                  <c:v>0.0075748521230272065</c:v>
                </c:pt>
                <c:pt idx="4">
                  <c:v>0.019009215663064603</c:v>
                </c:pt>
                <c:pt idx="5">
                  <c:v>0.011686734111054545</c:v>
                </c:pt>
                <c:pt idx="6">
                  <c:v>0.04428241600001839</c:v>
                </c:pt>
                <c:pt idx="7">
                  <c:v>0.13481352044305056</c:v>
                </c:pt>
                <c:pt idx="8">
                  <c:v>0.11237839726299749</c:v>
                </c:pt>
                <c:pt idx="9">
                  <c:v>0.48396240184152367</c:v>
                </c:pt>
                <c:pt idx="10">
                  <c:v>0.16534041870989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2188913803921</c:v>
                </c:pt>
                <c:pt idx="1">
                  <c:v>0.010611634200708155</c:v>
                </c:pt>
                <c:pt idx="2">
                  <c:v>0.017191212706328902</c:v>
                </c:pt>
                <c:pt idx="3">
                  <c:v>0.06657881274671337</c:v>
                </c:pt>
                <c:pt idx="4">
                  <c:v>0.04927328215654455</c:v>
                </c:pt>
                <c:pt idx="5">
                  <c:v>0.11854085069659605</c:v>
                </c:pt>
                <c:pt idx="6">
                  <c:v>0.13211262069559299</c:v>
                </c:pt>
                <c:pt idx="7">
                  <c:v>0.17977269388689268</c:v>
                </c:pt>
                <c:pt idx="8">
                  <c:v>0.2308780996963676</c:v>
                </c:pt>
                <c:pt idx="9">
                  <c:v>0.10988083240827315</c:v>
                </c:pt>
                <c:pt idx="10">
                  <c:v>0.068638071667943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c:v>
                </c:pt>
                <c:pt idx="4">
                  <c:v>0.08049847893797098</c:v>
                </c:pt>
                <c:pt idx="5">
                  <c:v>0.11300954238676618</c:v>
                </c:pt>
                <c:pt idx="6">
                  <c:v>0.13054828460312656</c:v>
                </c:pt>
                <c:pt idx="7">
                  <c:v>0.16999688993527617</c:v>
                </c:pt>
                <c:pt idx="8">
                  <c:v>0.1759635740360591</c:v>
                </c:pt>
                <c:pt idx="9">
                  <c:v>0.1247508482589552</c:v>
                </c:pt>
                <c:pt idx="10">
                  <c:v>0.023020666665302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2967811921920335</c:v>
                </c:pt>
                <c:pt idx="2">
                  <c:v>0.00409545396728098</c:v>
                </c:pt>
                <c:pt idx="5">
                  <c:v>0.00496199496744331</c:v>
                </c:pt>
                <c:pt idx="6">
                  <c:v>0.0038113466674709437</c:v>
                </c:pt>
                <c:pt idx="7">
                  <c:v>0.00639176918747543</c:v>
                </c:pt>
                <c:pt idx="8">
                  <c:v>0.00822345642633344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096130298614627</c:v>
                </c:pt>
                <c:pt idx="3">
                  <c:v>0.2686462022630614</c:v>
                </c:pt>
                <c:pt idx="4">
                  <c:v>0.24445258049451576</c:v>
                </c:pt>
                <c:pt idx="5">
                  <c:v>0.09709962314476883</c:v>
                </c:pt>
                <c:pt idx="6">
                  <c:v>0.029819821017562358</c:v>
                </c:pt>
                <c:pt idx="7">
                  <c:v>0.16448722706132768</c:v>
                </c:pt>
                <c:pt idx="8">
                  <c:v>0.1922824145702286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7551825169099855</c:v>
                </c:pt>
                <c:pt idx="1">
                  <c:v>0.0011268512829684938</c:v>
                </c:pt>
                <c:pt idx="2">
                  <c:v>0.03870337107333306</c:v>
                </c:pt>
                <c:pt idx="3">
                  <c:v>0.010655250804924096</c:v>
                </c:pt>
                <c:pt idx="4">
                  <c:v>0.008443658709353704</c:v>
                </c:pt>
                <c:pt idx="5">
                  <c:v>0.010672400633581458</c:v>
                </c:pt>
                <c:pt idx="6">
                  <c:v>0.07699987236678671</c:v>
                </c:pt>
                <c:pt idx="7">
                  <c:v>0.17887076019304027</c:v>
                </c:pt>
                <c:pt idx="8">
                  <c:v>0.2209649014323503</c:v>
                </c:pt>
                <c:pt idx="9">
                  <c:v>0.24223439627367618</c:v>
                </c:pt>
                <c:pt idx="10">
                  <c:v>0.2055733547130757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88248935620394</c:v>
                </c:pt>
                <c:pt idx="1">
                  <c:v>0.01625320005116317</c:v>
                </c:pt>
                <c:pt idx="2">
                  <c:v>0.02127098588498281</c:v>
                </c:pt>
                <c:pt idx="3">
                  <c:v>0.039448936569282715</c:v>
                </c:pt>
                <c:pt idx="4">
                  <c:v>0.051569641955082006</c:v>
                </c:pt>
                <c:pt idx="5">
                  <c:v>0.10247762175383172</c:v>
                </c:pt>
                <c:pt idx="6">
                  <c:v>0.1307431312465251</c:v>
                </c:pt>
                <c:pt idx="7">
                  <c:v>0.1778504929039384</c:v>
                </c:pt>
                <c:pt idx="8">
                  <c:v>0.2563771164258904</c:v>
                </c:pt>
                <c:pt idx="9">
                  <c:v>0.10345857949612594</c:v>
                </c:pt>
                <c:pt idx="10">
                  <c:v>0.0817620447775573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000862612550026</c:v>
                </c:pt>
                <c:pt idx="4">
                  <c:v>0.0016753006961716</c:v>
                </c:pt>
                <c:pt idx="5">
                  <c:v>0.0075117272869787656</c:v>
                </c:pt>
                <c:pt idx="6">
                  <c:v>0.002829009610894508</c:v>
                </c:pt>
                <c:pt idx="7">
                  <c:v>0.007196062099894999</c:v>
                </c:pt>
                <c:pt idx="8">
                  <c:v>0.00300411790730012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95170591014295</c:v>
                </c:pt>
                <c:pt idx="1">
                  <c:v>0.0006555930918114397</c:v>
                </c:pt>
                <c:pt idx="2">
                  <c:v>0.0018509581616242188</c:v>
                </c:pt>
                <c:pt idx="3">
                  <c:v>0.14860049297530936</c:v>
                </c:pt>
                <c:pt idx="4">
                  <c:v>0.3549097890286358</c:v>
                </c:pt>
                <c:pt idx="5">
                  <c:v>0.09234732243761361</c:v>
                </c:pt>
                <c:pt idx="6">
                  <c:v>0.024790528801785797</c:v>
                </c:pt>
                <c:pt idx="7">
                  <c:v>0.128120390097668</c:v>
                </c:pt>
                <c:pt idx="8">
                  <c:v>0.22102038676692065</c:v>
                </c:pt>
                <c:pt idx="9">
                  <c:v>0.00743876892916603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54150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55613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090874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936628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985065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870023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537950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522928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3270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97078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6653355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466204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06741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1848444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0516268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1382819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349662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862812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130656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359111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995761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499826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569653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661517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1230492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652642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9840126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777621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246682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0339520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26797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143079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053607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025713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09241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007412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3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